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4.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7.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8.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5" r:id="rId4"/>
    <p:sldMasterId id="2147484242" r:id="rId5"/>
    <p:sldMasterId id="2147484353" r:id="rId6"/>
    <p:sldMasterId id="2147484386" r:id="rId7"/>
    <p:sldMasterId id="2147484417" r:id="rId8"/>
    <p:sldMasterId id="2147484483" r:id="rId9"/>
    <p:sldMasterId id="2147484514" r:id="rId10"/>
    <p:sldMasterId id="2147484579" r:id="rId11"/>
    <p:sldMasterId id="2147484610" r:id="rId12"/>
  </p:sldMasterIdLst>
  <p:notesMasterIdLst>
    <p:notesMasterId r:id="rId18"/>
  </p:notesMasterIdLst>
  <p:handoutMasterIdLst>
    <p:handoutMasterId r:id="rId19"/>
  </p:handoutMasterIdLst>
  <p:sldIdLst>
    <p:sldId id="1311" r:id="rId13"/>
    <p:sldId id="6110" r:id="rId14"/>
    <p:sldId id="6111" r:id="rId15"/>
    <p:sldId id="1504" r:id="rId16"/>
    <p:sldId id="1791" r:id="rId1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7FA3CA-05E5-000D-F90B-090CC132BB67}" name="Jacklyn  Cooney" initials="JC" userId="S::jacklyn.cooney@harrispoll.com::4671fd87-1c36-424f-adfb-fe46f03702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wny Saez" initials="TS" lastIdx="5" clrIdx="0">
    <p:extLst>
      <p:ext uri="{19B8F6BF-5375-455C-9EA6-DF929625EA0E}">
        <p15:presenceInfo xmlns:p15="http://schemas.microsoft.com/office/powerpoint/2012/main" userId="S::tawny.saez@harrisinsights.com::2913b00c-fb6f-4e8a-bee1-8c08f32ef7de" providerId="AD"/>
      </p:ext>
    </p:extLst>
  </p:cmAuthor>
  <p:cmAuthor id="2" name="Andrew Higham" initials="AH" lastIdx="4" clrIdx="1">
    <p:extLst>
      <p:ext uri="{19B8F6BF-5375-455C-9EA6-DF929625EA0E}">
        <p15:presenceInfo xmlns:p15="http://schemas.microsoft.com/office/powerpoint/2012/main" userId="S::andrew.higham@harrisinsights.com::35dafcc8-73c5-404a-9731-d0dc709edbaf" providerId="AD"/>
      </p:ext>
    </p:extLst>
  </p:cmAuthor>
  <p:cmAuthor id="3" name="Marie Aloi" initials="MA" lastIdx="8" clrIdx="2">
    <p:extLst>
      <p:ext uri="{19B8F6BF-5375-455C-9EA6-DF929625EA0E}">
        <p15:presenceInfo xmlns:p15="http://schemas.microsoft.com/office/powerpoint/2012/main" userId="S-1-12-1-1671365597-1128412942-364009609-4032178151" providerId="AD"/>
      </p:ext>
    </p:extLst>
  </p:cmAuthor>
  <p:cmAuthor id="4" name="Chris McAllister" initials="CM" lastIdx="4" clrIdx="3">
    <p:extLst>
      <p:ext uri="{19B8F6BF-5375-455C-9EA6-DF929625EA0E}">
        <p15:presenceInfo xmlns:p15="http://schemas.microsoft.com/office/powerpoint/2012/main" userId="S::chris.mcallister@harrisinsights.com::1c21de35-29b4-45c9-a39e-8ffc18f06b64" providerId="AD"/>
      </p:ext>
    </p:extLst>
  </p:cmAuthor>
  <p:cmAuthor id="5" name="John Gerzema" initials="JG" lastIdx="4" clrIdx="4">
    <p:extLst>
      <p:ext uri="{19B8F6BF-5375-455C-9EA6-DF929625EA0E}">
        <p15:presenceInfo xmlns:p15="http://schemas.microsoft.com/office/powerpoint/2012/main" userId="S::jgerzema@harrisinsights.com::9479822d-61de-40b2-b816-750aef508154" providerId="AD"/>
      </p:ext>
    </p:extLst>
  </p:cmAuthor>
  <p:cmAuthor id="6" name="Steve Nicklin" initials="SN" lastIdx="13" clrIdx="5">
    <p:extLst>
      <p:ext uri="{19B8F6BF-5375-455C-9EA6-DF929625EA0E}">
        <p15:presenceInfo xmlns:p15="http://schemas.microsoft.com/office/powerpoint/2012/main" userId="S::snicklin@oaaa.org::4d267a5b-9ae4-459a-bbb3-586e46512d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17ACF"/>
    <a:srgbClr val="7F7F7F"/>
    <a:srgbClr val="FFC3B4"/>
    <a:srgbClr val="7FE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E2B9CA-4EF6-45C2-BA8E-F8EC1CDD6DF6}" v="27" dt="2022-03-07T22:00:11.1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188"/>
    <p:restoredTop sz="96361"/>
  </p:normalViewPr>
  <p:slideViewPr>
    <p:cSldViewPr snapToGrid="0" snapToObjects="1">
      <p:cViewPr varScale="1">
        <p:scale>
          <a:sx n="111" d="100"/>
          <a:sy n="111" d="100"/>
        </p:scale>
        <p:origin x="282" y="114"/>
      </p:cViewPr>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Nicklin" userId="4d267a5b-9ae4-459a-bbb3-586e46512d6c" providerId="ADAL" clId="{98E2B9CA-4EF6-45C2-BA8E-F8EC1CDD6DF6}"/>
    <pc:docChg chg="undo custSel delSld modSld sldOrd">
      <pc:chgData name="Steve Nicklin" userId="4d267a5b-9ae4-459a-bbb3-586e46512d6c" providerId="ADAL" clId="{98E2B9CA-4EF6-45C2-BA8E-F8EC1CDD6DF6}" dt="2022-03-07T23:00:16.728" v="3209" actId="6549"/>
      <pc:docMkLst>
        <pc:docMk/>
      </pc:docMkLst>
      <pc:sldChg chg="modSp mod">
        <pc:chgData name="Steve Nicklin" userId="4d267a5b-9ae4-459a-bbb3-586e46512d6c" providerId="ADAL" clId="{98E2B9CA-4EF6-45C2-BA8E-F8EC1CDD6DF6}" dt="2022-03-07T15:52:36.268" v="21" actId="255"/>
        <pc:sldMkLst>
          <pc:docMk/>
          <pc:sldMk cId="1654618261" sldId="1311"/>
        </pc:sldMkLst>
        <pc:spChg chg="mod">
          <ac:chgData name="Steve Nicklin" userId="4d267a5b-9ae4-459a-bbb3-586e46512d6c" providerId="ADAL" clId="{98E2B9CA-4EF6-45C2-BA8E-F8EC1CDD6DF6}" dt="2022-03-07T15:52:36.268" v="21" actId="255"/>
          <ac:spMkLst>
            <pc:docMk/>
            <pc:sldMk cId="1654618261" sldId="1311"/>
            <ac:spMk id="2" creationId="{00000000-0000-0000-0000-000000000000}"/>
          </ac:spMkLst>
        </pc:spChg>
      </pc:sldChg>
      <pc:sldChg chg="delSp modSp mod ord">
        <pc:chgData name="Steve Nicklin" userId="4d267a5b-9ae4-459a-bbb3-586e46512d6c" providerId="ADAL" clId="{98E2B9CA-4EF6-45C2-BA8E-F8EC1CDD6DF6}" dt="2022-03-07T22:19:04.223" v="3203" actId="14100"/>
        <pc:sldMkLst>
          <pc:docMk/>
          <pc:sldMk cId="1194174128" sldId="1504"/>
        </pc:sldMkLst>
        <pc:spChg chg="mod">
          <ac:chgData name="Steve Nicklin" userId="4d267a5b-9ae4-459a-bbb3-586e46512d6c" providerId="ADAL" clId="{98E2B9CA-4EF6-45C2-BA8E-F8EC1CDD6DF6}" dt="2022-03-07T15:54:18.072" v="53" actId="20577"/>
          <ac:spMkLst>
            <pc:docMk/>
            <pc:sldMk cId="1194174128" sldId="1504"/>
            <ac:spMk id="3" creationId="{4F7FB5F0-E6B6-4C6B-820A-361958DC41E1}"/>
          </ac:spMkLst>
        </pc:spChg>
        <pc:spChg chg="mod">
          <ac:chgData name="Steve Nicklin" userId="4d267a5b-9ae4-459a-bbb3-586e46512d6c" providerId="ADAL" clId="{98E2B9CA-4EF6-45C2-BA8E-F8EC1CDD6DF6}" dt="2022-03-07T22:19:04.223" v="3203" actId="14100"/>
          <ac:spMkLst>
            <pc:docMk/>
            <pc:sldMk cId="1194174128" sldId="1504"/>
            <ac:spMk id="10" creationId="{5547812E-C949-4845-825C-7BF76D6BFFA0}"/>
          </ac:spMkLst>
        </pc:spChg>
        <pc:graphicFrameChg chg="del">
          <ac:chgData name="Steve Nicklin" userId="4d267a5b-9ae4-459a-bbb3-586e46512d6c" providerId="ADAL" clId="{98E2B9CA-4EF6-45C2-BA8E-F8EC1CDD6DF6}" dt="2022-03-07T15:54:23.386" v="54" actId="478"/>
          <ac:graphicFrameMkLst>
            <pc:docMk/>
            <pc:sldMk cId="1194174128" sldId="1504"/>
            <ac:graphicFrameMk id="4" creationId="{36CD1C82-2769-44FE-9DC1-AA4A3CFDC70C}"/>
          </ac:graphicFrameMkLst>
        </pc:graphicFrameChg>
        <pc:graphicFrameChg chg="mod">
          <ac:chgData name="Steve Nicklin" userId="4d267a5b-9ae4-459a-bbb3-586e46512d6c" providerId="ADAL" clId="{98E2B9CA-4EF6-45C2-BA8E-F8EC1CDD6DF6}" dt="2022-03-07T15:54:47.527" v="60" actId="1076"/>
          <ac:graphicFrameMkLst>
            <pc:docMk/>
            <pc:sldMk cId="1194174128" sldId="1504"/>
            <ac:graphicFrameMk id="5" creationId="{93A84613-EFE3-4D08-9FF1-1F576140A65F}"/>
          </ac:graphicFrameMkLst>
        </pc:graphicFrameChg>
        <pc:picChg chg="mod">
          <ac:chgData name="Steve Nicklin" userId="4d267a5b-9ae4-459a-bbb3-586e46512d6c" providerId="ADAL" clId="{98E2B9CA-4EF6-45C2-BA8E-F8EC1CDD6DF6}" dt="2022-03-07T15:54:27.589" v="55" actId="1076"/>
          <ac:picMkLst>
            <pc:docMk/>
            <pc:sldMk cId="1194174128" sldId="1504"/>
            <ac:picMk id="7" creationId="{70E8F764-ECE5-4F8F-A7E3-60BDDEB5FDF6}"/>
          </ac:picMkLst>
        </pc:picChg>
        <pc:picChg chg="mod">
          <ac:chgData name="Steve Nicklin" userId="4d267a5b-9ae4-459a-bbb3-586e46512d6c" providerId="ADAL" clId="{98E2B9CA-4EF6-45C2-BA8E-F8EC1CDD6DF6}" dt="2022-03-07T15:55:12.829" v="63" actId="1076"/>
          <ac:picMkLst>
            <pc:docMk/>
            <pc:sldMk cId="1194174128" sldId="1504"/>
            <ac:picMk id="8" creationId="{F3678745-49E4-4E74-83AA-CFCBC0F5F500}"/>
          </ac:picMkLst>
        </pc:picChg>
        <pc:picChg chg="mod">
          <ac:chgData name="Steve Nicklin" userId="4d267a5b-9ae4-459a-bbb3-586e46512d6c" providerId="ADAL" clId="{98E2B9CA-4EF6-45C2-BA8E-F8EC1CDD6DF6}" dt="2022-03-07T15:55:16.380" v="64" actId="1076"/>
          <ac:picMkLst>
            <pc:docMk/>
            <pc:sldMk cId="1194174128" sldId="1504"/>
            <ac:picMk id="9" creationId="{8ED96F9A-A0D4-4B34-8DED-CD5969B5F571}"/>
          </ac:picMkLst>
        </pc:picChg>
        <pc:picChg chg="mod">
          <ac:chgData name="Steve Nicklin" userId="4d267a5b-9ae4-459a-bbb3-586e46512d6c" providerId="ADAL" clId="{98E2B9CA-4EF6-45C2-BA8E-F8EC1CDD6DF6}" dt="2022-03-07T15:55:08.070" v="62" actId="1076"/>
          <ac:picMkLst>
            <pc:docMk/>
            <pc:sldMk cId="1194174128" sldId="1504"/>
            <ac:picMk id="11" creationId="{C9373C49-868A-4DF9-BF10-1E855B58197B}"/>
          </ac:picMkLst>
        </pc:picChg>
      </pc:sldChg>
      <pc:sldChg chg="modSp mod">
        <pc:chgData name="Steve Nicklin" userId="4d267a5b-9ae4-459a-bbb3-586e46512d6c" providerId="ADAL" clId="{98E2B9CA-4EF6-45C2-BA8E-F8EC1CDD6DF6}" dt="2022-03-07T23:00:10.433" v="3207" actId="20577"/>
        <pc:sldMkLst>
          <pc:docMk/>
          <pc:sldMk cId="3892478664" sldId="6110"/>
        </pc:sldMkLst>
        <pc:spChg chg="mod">
          <ac:chgData name="Steve Nicklin" userId="4d267a5b-9ae4-459a-bbb3-586e46512d6c" providerId="ADAL" clId="{98E2B9CA-4EF6-45C2-BA8E-F8EC1CDD6DF6}" dt="2022-03-07T15:53:44.461" v="33" actId="6549"/>
          <ac:spMkLst>
            <pc:docMk/>
            <pc:sldMk cId="3892478664" sldId="6110"/>
            <ac:spMk id="8" creationId="{379BAC47-76A7-0147-BB29-A25C1557DD9E}"/>
          </ac:spMkLst>
        </pc:spChg>
        <pc:graphicFrameChg chg="mod modGraphic">
          <ac:chgData name="Steve Nicklin" userId="4d267a5b-9ae4-459a-bbb3-586e46512d6c" providerId="ADAL" clId="{98E2B9CA-4EF6-45C2-BA8E-F8EC1CDD6DF6}" dt="2022-03-07T23:00:10.433" v="3207" actId="20577"/>
          <ac:graphicFrameMkLst>
            <pc:docMk/>
            <pc:sldMk cId="3892478664" sldId="6110"/>
            <ac:graphicFrameMk id="13" creationId="{E3EBA47B-C3BB-4E7A-BA64-389C908DCB57}"/>
          </ac:graphicFrameMkLst>
        </pc:graphicFrameChg>
      </pc:sldChg>
      <pc:sldChg chg="modSp mod">
        <pc:chgData name="Steve Nicklin" userId="4d267a5b-9ae4-459a-bbb3-586e46512d6c" providerId="ADAL" clId="{98E2B9CA-4EF6-45C2-BA8E-F8EC1CDD6DF6}" dt="2022-03-07T23:00:16.728" v="3209" actId="6549"/>
        <pc:sldMkLst>
          <pc:docMk/>
          <pc:sldMk cId="1941136910" sldId="6111"/>
        </pc:sldMkLst>
        <pc:graphicFrameChg chg="mod modGraphic">
          <ac:chgData name="Steve Nicklin" userId="4d267a5b-9ae4-459a-bbb3-586e46512d6c" providerId="ADAL" clId="{98E2B9CA-4EF6-45C2-BA8E-F8EC1CDD6DF6}" dt="2022-03-07T23:00:16.728" v="3209" actId="6549"/>
          <ac:graphicFrameMkLst>
            <pc:docMk/>
            <pc:sldMk cId="1941136910" sldId="6111"/>
            <ac:graphicFrameMk id="13" creationId="{E3EBA47B-C3BB-4E7A-BA64-389C908DCB57}"/>
          </ac:graphicFrameMkLst>
        </pc:graphicFrameChg>
      </pc:sldChg>
      <pc:sldChg chg="del">
        <pc:chgData name="Steve Nicklin" userId="4d267a5b-9ae4-459a-bbb3-586e46512d6c" providerId="ADAL" clId="{98E2B9CA-4EF6-45C2-BA8E-F8EC1CDD6DF6}" dt="2022-03-07T15:53:17.105" v="22" actId="47"/>
        <pc:sldMkLst>
          <pc:docMk/>
          <pc:sldMk cId="2358087634" sldId="7490"/>
        </pc:sldMkLst>
      </pc:sldChg>
      <pc:sldChg chg="del">
        <pc:chgData name="Steve Nicklin" userId="4d267a5b-9ae4-459a-bbb3-586e46512d6c" providerId="ADAL" clId="{98E2B9CA-4EF6-45C2-BA8E-F8EC1CDD6DF6}" dt="2022-03-07T15:53:17.105" v="22" actId="47"/>
        <pc:sldMkLst>
          <pc:docMk/>
          <pc:sldMk cId="4240866388" sldId="7491"/>
        </pc:sldMkLst>
      </pc:sldChg>
      <pc:sldChg chg="del">
        <pc:chgData name="Steve Nicklin" userId="4d267a5b-9ae4-459a-bbb3-586e46512d6c" providerId="ADAL" clId="{98E2B9CA-4EF6-45C2-BA8E-F8EC1CDD6DF6}" dt="2022-03-07T15:53:17.105" v="22" actId="47"/>
        <pc:sldMkLst>
          <pc:docMk/>
          <pc:sldMk cId="2322002001" sldId="7492"/>
        </pc:sldMkLst>
      </pc:sldChg>
      <pc:sldChg chg="del">
        <pc:chgData name="Steve Nicklin" userId="4d267a5b-9ae4-459a-bbb3-586e46512d6c" providerId="ADAL" clId="{98E2B9CA-4EF6-45C2-BA8E-F8EC1CDD6DF6}" dt="2022-03-07T15:53:17.105" v="22" actId="47"/>
        <pc:sldMkLst>
          <pc:docMk/>
          <pc:sldMk cId="2606715706" sldId="7493"/>
        </pc:sldMkLst>
      </pc:sldChg>
      <pc:sldChg chg="del">
        <pc:chgData name="Steve Nicklin" userId="4d267a5b-9ae4-459a-bbb3-586e46512d6c" providerId="ADAL" clId="{98E2B9CA-4EF6-45C2-BA8E-F8EC1CDD6DF6}" dt="2022-03-07T15:53:17.105" v="22" actId="47"/>
        <pc:sldMkLst>
          <pc:docMk/>
          <pc:sldMk cId="3209346563" sldId="7494"/>
        </pc:sldMkLst>
      </pc:sldChg>
      <pc:sldChg chg="del">
        <pc:chgData name="Steve Nicklin" userId="4d267a5b-9ae4-459a-bbb3-586e46512d6c" providerId="ADAL" clId="{98E2B9CA-4EF6-45C2-BA8E-F8EC1CDD6DF6}" dt="2022-03-07T15:53:17.105" v="22" actId="47"/>
        <pc:sldMkLst>
          <pc:docMk/>
          <pc:sldMk cId="3932463814" sldId="7495"/>
        </pc:sldMkLst>
      </pc:sldChg>
      <pc:sldChg chg="del">
        <pc:chgData name="Steve Nicklin" userId="4d267a5b-9ae4-459a-bbb3-586e46512d6c" providerId="ADAL" clId="{98E2B9CA-4EF6-45C2-BA8E-F8EC1CDD6DF6}" dt="2022-03-07T15:53:17.105" v="22" actId="47"/>
        <pc:sldMkLst>
          <pc:docMk/>
          <pc:sldMk cId="3969342845" sldId="7496"/>
        </pc:sldMkLst>
      </pc:sldChg>
      <pc:sldChg chg="del">
        <pc:chgData name="Steve Nicklin" userId="4d267a5b-9ae4-459a-bbb3-586e46512d6c" providerId="ADAL" clId="{98E2B9CA-4EF6-45C2-BA8E-F8EC1CDD6DF6}" dt="2022-03-07T15:53:17.105" v="22" actId="47"/>
        <pc:sldMkLst>
          <pc:docMk/>
          <pc:sldMk cId="2912144894" sldId="7497"/>
        </pc:sldMkLst>
      </pc:sldChg>
      <pc:sldChg chg="del">
        <pc:chgData name="Steve Nicklin" userId="4d267a5b-9ae4-459a-bbb3-586e46512d6c" providerId="ADAL" clId="{98E2B9CA-4EF6-45C2-BA8E-F8EC1CDD6DF6}" dt="2022-03-07T15:53:17.105" v="22" actId="47"/>
        <pc:sldMkLst>
          <pc:docMk/>
          <pc:sldMk cId="784708327" sldId="7498"/>
        </pc:sldMkLst>
      </pc:sldChg>
      <pc:sldChg chg="del">
        <pc:chgData name="Steve Nicklin" userId="4d267a5b-9ae4-459a-bbb3-586e46512d6c" providerId="ADAL" clId="{98E2B9CA-4EF6-45C2-BA8E-F8EC1CDD6DF6}" dt="2022-03-07T15:53:17.105" v="22" actId="47"/>
        <pc:sldMkLst>
          <pc:docMk/>
          <pc:sldMk cId="315335301" sldId="7499"/>
        </pc:sldMkLst>
      </pc:sldChg>
      <pc:sldChg chg="del">
        <pc:chgData name="Steve Nicklin" userId="4d267a5b-9ae4-459a-bbb3-586e46512d6c" providerId="ADAL" clId="{98E2B9CA-4EF6-45C2-BA8E-F8EC1CDD6DF6}" dt="2022-03-07T15:53:17.105" v="22" actId="47"/>
        <pc:sldMkLst>
          <pc:docMk/>
          <pc:sldMk cId="907837302" sldId="7500"/>
        </pc:sldMkLst>
      </pc:sldChg>
      <pc:sldChg chg="del">
        <pc:chgData name="Steve Nicklin" userId="4d267a5b-9ae4-459a-bbb3-586e46512d6c" providerId="ADAL" clId="{98E2B9CA-4EF6-45C2-BA8E-F8EC1CDD6DF6}" dt="2022-03-07T15:53:17.105" v="22" actId="47"/>
        <pc:sldMkLst>
          <pc:docMk/>
          <pc:sldMk cId="3717037908" sldId="7501"/>
        </pc:sldMkLst>
      </pc:sldChg>
      <pc:sldChg chg="del">
        <pc:chgData name="Steve Nicklin" userId="4d267a5b-9ae4-459a-bbb3-586e46512d6c" providerId="ADAL" clId="{98E2B9CA-4EF6-45C2-BA8E-F8EC1CDD6DF6}" dt="2022-03-07T15:53:17.105" v="22" actId="47"/>
        <pc:sldMkLst>
          <pc:docMk/>
          <pc:sldMk cId="477336049" sldId="7503"/>
        </pc:sldMkLst>
      </pc:sldChg>
      <pc:sldChg chg="del">
        <pc:chgData name="Steve Nicklin" userId="4d267a5b-9ae4-459a-bbb3-586e46512d6c" providerId="ADAL" clId="{98E2B9CA-4EF6-45C2-BA8E-F8EC1CDD6DF6}" dt="2022-03-07T15:53:17.105" v="22" actId="47"/>
        <pc:sldMkLst>
          <pc:docMk/>
          <pc:sldMk cId="1137703194" sldId="7504"/>
        </pc:sldMkLst>
      </pc:sldChg>
      <pc:sldChg chg="del">
        <pc:chgData name="Steve Nicklin" userId="4d267a5b-9ae4-459a-bbb3-586e46512d6c" providerId="ADAL" clId="{98E2B9CA-4EF6-45C2-BA8E-F8EC1CDD6DF6}" dt="2022-03-07T15:53:17.105" v="22" actId="47"/>
        <pc:sldMkLst>
          <pc:docMk/>
          <pc:sldMk cId="2087687738" sldId="7505"/>
        </pc:sldMkLst>
      </pc:sldChg>
      <pc:sldChg chg="del">
        <pc:chgData name="Steve Nicklin" userId="4d267a5b-9ae4-459a-bbb3-586e46512d6c" providerId="ADAL" clId="{98E2B9CA-4EF6-45C2-BA8E-F8EC1CDD6DF6}" dt="2022-03-07T15:53:17.105" v="22" actId="47"/>
        <pc:sldMkLst>
          <pc:docMk/>
          <pc:sldMk cId="3790275840" sldId="7507"/>
        </pc:sldMkLst>
      </pc:sldChg>
      <pc:sldChg chg="del">
        <pc:chgData name="Steve Nicklin" userId="4d267a5b-9ae4-459a-bbb3-586e46512d6c" providerId="ADAL" clId="{98E2B9CA-4EF6-45C2-BA8E-F8EC1CDD6DF6}" dt="2022-03-07T15:53:17.105" v="22" actId="47"/>
        <pc:sldMkLst>
          <pc:docMk/>
          <pc:sldMk cId="2880923807" sldId="7508"/>
        </pc:sldMkLst>
      </pc:sldChg>
      <pc:sldChg chg="del">
        <pc:chgData name="Steve Nicklin" userId="4d267a5b-9ae4-459a-bbb3-586e46512d6c" providerId="ADAL" clId="{98E2B9CA-4EF6-45C2-BA8E-F8EC1CDD6DF6}" dt="2022-03-07T15:53:17.105" v="22" actId="47"/>
        <pc:sldMkLst>
          <pc:docMk/>
          <pc:sldMk cId="3098616809" sldId="7510"/>
        </pc:sldMkLst>
      </pc:sldChg>
      <pc:sldChg chg="del">
        <pc:chgData name="Steve Nicklin" userId="4d267a5b-9ae4-459a-bbb3-586e46512d6c" providerId="ADAL" clId="{98E2B9CA-4EF6-45C2-BA8E-F8EC1CDD6DF6}" dt="2022-03-07T15:53:17.105" v="22" actId="47"/>
        <pc:sldMkLst>
          <pc:docMk/>
          <pc:sldMk cId="2084818404" sldId="7511"/>
        </pc:sldMkLst>
      </pc:sldChg>
      <pc:sldChg chg="del">
        <pc:chgData name="Steve Nicklin" userId="4d267a5b-9ae4-459a-bbb3-586e46512d6c" providerId="ADAL" clId="{98E2B9CA-4EF6-45C2-BA8E-F8EC1CDD6DF6}" dt="2022-03-07T15:53:17.105" v="22" actId="47"/>
        <pc:sldMkLst>
          <pc:docMk/>
          <pc:sldMk cId="2831372063" sldId="7512"/>
        </pc:sldMkLst>
      </pc:sldChg>
      <pc:sldChg chg="del">
        <pc:chgData name="Steve Nicklin" userId="4d267a5b-9ae4-459a-bbb3-586e46512d6c" providerId="ADAL" clId="{98E2B9CA-4EF6-45C2-BA8E-F8EC1CDD6DF6}" dt="2022-03-07T15:53:17.105" v="22" actId="47"/>
        <pc:sldMkLst>
          <pc:docMk/>
          <pc:sldMk cId="3916867715" sldId="751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01D8B1D-895F-430E-AB51-9E237DC91FDD}"/>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63B20034-0FCF-4669-8F33-D7F8488FB610}"/>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79B9E9C-C853-43B9-B397-46FD96CD5DF4}" type="datetimeFigureOut">
              <a:rPr lang="en-US" smtClean="0"/>
              <a:t>3/7/2022</a:t>
            </a:fld>
            <a:endParaRPr lang="en-US"/>
          </a:p>
        </p:txBody>
      </p:sp>
      <p:sp>
        <p:nvSpPr>
          <p:cNvPr id="4" name="Footer Placeholder 3">
            <a:extLst>
              <a:ext uri="{FF2B5EF4-FFF2-40B4-BE49-F238E27FC236}">
                <a16:creationId xmlns:a16="http://schemas.microsoft.com/office/drawing/2014/main" id="{9D3FFCC6-256C-4658-955E-E0D0C3F671DE}"/>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BD5809-4CA7-47A4-89BF-CB2175C21ED5}"/>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AABAE0AD-3190-4611-8ADB-4ED550A51685}" type="slidenum">
              <a:rPr lang="en-US" smtClean="0"/>
              <a:t>‹#›</a:t>
            </a:fld>
            <a:endParaRPr lang="en-US"/>
          </a:p>
        </p:txBody>
      </p:sp>
    </p:spTree>
    <p:extLst>
      <p:ext uri="{BB962C8B-B14F-4D97-AF65-F5344CB8AC3E}">
        <p14:creationId xmlns:p14="http://schemas.microsoft.com/office/powerpoint/2010/main" val="656369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9480BA5-9B40-4451-9B49-3100B45CE3A0}" type="datetimeFigureOut">
              <a:rPr lang="en-US" smtClean="0"/>
              <a:t>3/7/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92F94CB-1083-4FA2-B29E-D7FA47B1A247}" type="slidenum">
              <a:rPr lang="en-US" smtClean="0"/>
              <a:t>‹#›</a:t>
            </a:fld>
            <a:endParaRPr lang="en-US"/>
          </a:p>
        </p:txBody>
      </p:sp>
    </p:spTree>
    <p:extLst>
      <p:ext uri="{BB962C8B-B14F-4D97-AF65-F5344CB8AC3E}">
        <p14:creationId xmlns:p14="http://schemas.microsoft.com/office/powerpoint/2010/main" val="129578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5F18274E-6334-4F8D-9756-AACC351470A4}" type="slidenum">
              <a:rPr lang="en-US">
                <a:solidFill>
                  <a:prstClr val="black"/>
                </a:solidFill>
                <a:latin typeface="Calibri" panose="020F0502020204030204"/>
              </a:rPr>
              <a:pPr defTabSz="931774">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3302925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0540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4</a:t>
            </a:fld>
            <a:endParaRPr lang="en-US"/>
          </a:p>
        </p:txBody>
      </p:sp>
    </p:spTree>
    <p:extLst>
      <p:ext uri="{BB962C8B-B14F-4D97-AF65-F5344CB8AC3E}">
        <p14:creationId xmlns:p14="http://schemas.microsoft.com/office/powerpoint/2010/main" val="3736640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2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4.png"/></Relationships>
</file>

<file path=ppt/slideLayouts/_rels/slideLayout15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6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8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21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22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8.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9.png"/></Relationships>
</file>

<file path=ppt/slideLayouts/_rels/slideLayout25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30.png"/></Relationships>
</file>

<file path=ppt/slideLayouts/_rels/slideLayout25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9.png"/></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2.png"/></Relationships>
</file>

<file path=ppt/slideLayouts/_rels/slideLayout28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6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7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9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9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813550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109495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30192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16596030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8764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76146847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746633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805590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17341811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155479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5760217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901772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5788047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010847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097501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717337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440605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5571750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220781699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182138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063902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20182521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66245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2214135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8411499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105720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8690209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1186839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38542556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39813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06667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0917478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8507679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0967666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5944858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2009431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070340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01024840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09889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2796062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20390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68445502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2240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65875916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02530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4133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555108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7161431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051542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97743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3431372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102701801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943685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208328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19734075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42511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411542043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57050127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56719946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38274480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100798484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7376953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7895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58813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45839080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51232833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666171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584"/>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732390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44359159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2200433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81338709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326182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07431761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55191412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419782994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2960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5843244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202665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190435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52549246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8970412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625599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1350495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51468950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5350696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81374798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0459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79653105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046704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spTree>
    <p:extLst>
      <p:ext uri="{BB962C8B-B14F-4D97-AF65-F5344CB8AC3E}">
        <p14:creationId xmlns:p14="http://schemas.microsoft.com/office/powerpoint/2010/main" val="2099280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2840455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421976045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33790378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323330242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55829708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90363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03157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234169600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9980035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134196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2" y="518160"/>
            <a:ext cx="7467969" cy="6129867"/>
          </a:xfrm>
          <a:prstGeom prst="rect">
            <a:avLst/>
          </a:prstGeom>
        </p:spPr>
        <p:txBody>
          <a:bodyPr/>
          <a:lstStyle/>
          <a:p>
            <a:endParaRPr lang="en-US"/>
          </a:p>
        </p:txBody>
      </p:sp>
    </p:spTree>
    <p:extLst>
      <p:ext uri="{BB962C8B-B14F-4D97-AF65-F5344CB8AC3E}">
        <p14:creationId xmlns:p14="http://schemas.microsoft.com/office/powerpoint/2010/main" val="231127531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6963590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8473657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104525457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84185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52858603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58302174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68729961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68173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7188892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78121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44860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1</a:t>
            </a:r>
          </a:p>
        </p:txBody>
      </p:sp>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Q5MDciLCJleHAiOiIxNTMyOTk2NTA3IiwiZW5kcG9pbnR1cmwiOiIrN1NNbS9wNUZhdWtzajhNWDVmL2VkTWZqRHBoR21tVXFOUm5CNDMwN3BVPSIsImVuZHBvaW50dXJsTGVuZ3RoIjoiMTI4IiwiaXNsb29wYmFjayI6IlRydWUiLCJjaWQiOiJPVGxsT1RkbU9XVXRNREEyWXkwMk1EQXdMVEUwTWpRdE1XTmlZVGc1WTJVeU1XWXg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VXN4N0xtN25td0I5SERSRERoR2FlbGdNZnhIcWV6dWZQSWRXVWNFZEFwST0&amp;encodeFailures=1&amp;width=1663&amp;height=343&amp;srcWidth=1663&amp;srcHeight=343">
            <a:extLst>
              <a:ext uri="{FF2B5EF4-FFF2-40B4-BE49-F238E27FC236}">
                <a16:creationId xmlns:a16="http://schemas.microsoft.com/office/drawing/2014/main" id="{153AB127-7483-4E95-9267-EB6E53700ED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5" y="462226"/>
            <a:ext cx="3883772" cy="801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75954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0743952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546527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3055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430534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467508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377256465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76931061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0885677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83649992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8251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Stagwell LLC Company © 2018</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6" y="462225"/>
            <a:ext cx="3954985" cy="815731"/>
          </a:xfrm>
          <a:prstGeom prst="rect">
            <a:avLst/>
          </a:prstGeom>
        </p:spPr>
      </p:pic>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17655327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spTree>
    <p:extLst>
      <p:ext uri="{BB962C8B-B14F-4D97-AF65-F5344CB8AC3E}">
        <p14:creationId xmlns:p14="http://schemas.microsoft.com/office/powerpoint/2010/main" val="64909441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spTree>
    <p:extLst>
      <p:ext uri="{BB962C8B-B14F-4D97-AF65-F5344CB8AC3E}">
        <p14:creationId xmlns:p14="http://schemas.microsoft.com/office/powerpoint/2010/main" val="359170695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4499941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spTree>
    <p:extLst>
      <p:ext uri="{BB962C8B-B14F-4D97-AF65-F5344CB8AC3E}">
        <p14:creationId xmlns:p14="http://schemas.microsoft.com/office/powerpoint/2010/main" val="350534496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Tree>
    <p:extLst>
      <p:ext uri="{BB962C8B-B14F-4D97-AF65-F5344CB8AC3E}">
        <p14:creationId xmlns:p14="http://schemas.microsoft.com/office/powerpoint/2010/main" val="371998097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9107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14204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408123105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32310255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5146303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Stagwell LLC Company © 2018</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2"/>
          </a:xfrm>
          <a:prstGeom prst="rect">
            <a:avLst/>
          </a:prstGeom>
        </p:spPr>
      </p:pic>
    </p:spTree>
    <p:extLst>
      <p:ext uri="{BB962C8B-B14F-4D97-AF65-F5344CB8AC3E}">
        <p14:creationId xmlns:p14="http://schemas.microsoft.com/office/powerpoint/2010/main" val="18763154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65267078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3539569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26567654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6353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395258548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41065083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86001496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200917946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52317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1856213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Stagwell LLC Company © 2018</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3"/>
          </a:xfrm>
          <a:prstGeom prst="rect">
            <a:avLst/>
          </a:prstGeom>
        </p:spPr>
      </p:pic>
    </p:spTree>
    <p:extLst>
      <p:ext uri="{BB962C8B-B14F-4D97-AF65-F5344CB8AC3E}">
        <p14:creationId xmlns:p14="http://schemas.microsoft.com/office/powerpoint/2010/main" val="40584561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6888639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822184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4053388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1334028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5426367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02796130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7290418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70785077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02098029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8047388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40983654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3699423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spTree>
    <p:extLst>
      <p:ext uri="{BB962C8B-B14F-4D97-AF65-F5344CB8AC3E}">
        <p14:creationId xmlns:p14="http://schemas.microsoft.com/office/powerpoint/2010/main" val="16559074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spTree>
    <p:extLst>
      <p:ext uri="{BB962C8B-B14F-4D97-AF65-F5344CB8AC3E}">
        <p14:creationId xmlns:p14="http://schemas.microsoft.com/office/powerpoint/2010/main" val="334624440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179149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spTree>
    <p:extLst>
      <p:ext uri="{BB962C8B-B14F-4D97-AF65-F5344CB8AC3E}">
        <p14:creationId xmlns:p14="http://schemas.microsoft.com/office/powerpoint/2010/main" val="33167602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Tree>
    <p:extLst>
      <p:ext uri="{BB962C8B-B14F-4D97-AF65-F5344CB8AC3E}">
        <p14:creationId xmlns:p14="http://schemas.microsoft.com/office/powerpoint/2010/main" val="115402474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8738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906720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115681966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8627375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Stagwell LLC Company © 2018</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298122470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13609778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42490605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3112583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09597902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22109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401616707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106976489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310546792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269190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269588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45542525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4590868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2228547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8886990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5085582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8001640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04810481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24250859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69220431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751667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3755539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8" y="462225"/>
            <a:ext cx="3954985" cy="81573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Harris Insights &amp; Analytics, A Stagwell LLC Company © 2018</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8323124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60669685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169877151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29321221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634158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114901257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360875795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97007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804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57086772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7840541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1_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pic>
        <p:nvPicPr>
          <p:cNvPr id="8" name="Picture 7"/>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28524921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4201344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4685040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432498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15109452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230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92615104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53346449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178234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92482" y="152400"/>
            <a:ext cx="10887287" cy="1095756"/>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792480" y="2020824"/>
            <a:ext cx="10887288" cy="4078224"/>
          </a:xfrm>
          <a:prstGeom prst="rect">
            <a:avLst/>
          </a:prstGeom>
        </p:spPr>
        <p:txBody>
          <a:bodyPr/>
          <a:lstStyle/>
          <a:p>
            <a:endParaRPr lang="en-US"/>
          </a:p>
        </p:txBody>
      </p:sp>
    </p:spTree>
    <p:extLst>
      <p:ext uri="{BB962C8B-B14F-4D97-AF65-F5344CB8AC3E}">
        <p14:creationId xmlns:p14="http://schemas.microsoft.com/office/powerpoint/2010/main" val="17182507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509775"/>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Stagwell LLC Company © 2018</a:t>
            </a:r>
          </a:p>
        </p:txBody>
      </p:sp>
      <p:pic>
        <p:nvPicPr>
          <p:cNvPr id="6" name="Picture 5">
            <a:extLst>
              <a:ext uri="{FF2B5EF4-FFF2-40B4-BE49-F238E27FC236}">
                <a16:creationId xmlns:a16="http://schemas.microsoft.com/office/drawing/2014/main" id="{F8ADB39A-7A36-3341-82EA-36C2611B8135}"/>
              </a:ext>
            </a:extLst>
          </p:cNvPr>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331239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621334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8">
            <a:extLst>
              <a:ext uri="{FF2B5EF4-FFF2-40B4-BE49-F238E27FC236}">
                <a16:creationId xmlns:a16="http://schemas.microsoft.com/office/drawing/2014/main" id="{8DFC5EEE-089F-1543-906A-465D212954A8}"/>
              </a:ext>
            </a:extLst>
          </p:cNvPr>
          <p:cNvPicPr>
            <a:picLocks noChangeAspect="1"/>
          </p:cNvPicPr>
          <p:nvPr userDrawn="1"/>
        </p:nvPicPr>
        <p:blipFill>
          <a:blip r:embed="rId2"/>
          <a:stretch>
            <a:fillRect/>
          </a:stretch>
        </p:blipFill>
        <p:spPr>
          <a:xfrm>
            <a:off x="302684" y="338570"/>
            <a:ext cx="5002485" cy="619084"/>
          </a:xfrm>
          <a:prstGeom prst="rect">
            <a:avLst/>
          </a:prstGeom>
        </p:spPr>
      </p:pic>
    </p:spTree>
    <p:extLst>
      <p:ext uri="{BB962C8B-B14F-4D97-AF65-F5344CB8AC3E}">
        <p14:creationId xmlns:p14="http://schemas.microsoft.com/office/powerpoint/2010/main" val="17889600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7180119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1</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694903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584372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784646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654004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4824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0281901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Dark 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3"/>
          </a:xfrm>
        </p:spPr>
        <p:txBody>
          <a:bodyPr wrap="square" tIns="0" bIns="0"/>
          <a:lstStyle>
            <a:lvl1pPr marL="0" indent="0" algn="l">
              <a:lnSpc>
                <a:spcPct val="100000"/>
              </a:lnSpc>
              <a:buNone/>
              <a:defRPr sz="2000" cap="all" baseline="0">
                <a:solidFill>
                  <a:srgbClr val="FFFFFF"/>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2"/>
          <p:cNvSpPr>
            <a:spLocks noGrp="1"/>
          </p:cNvSpPr>
          <p:nvPr>
            <p:ph type="body" idx="17"/>
          </p:nvPr>
        </p:nvSpPr>
        <p:spPr>
          <a:xfrm>
            <a:off x="711921" y="5998465"/>
            <a:ext cx="3854751" cy="697395"/>
          </a:xfrm>
        </p:spPr>
        <p:txBody>
          <a:bodyPr wrap="square" anchor="b" anchorCtr="0"/>
          <a:lstStyle>
            <a:lvl1pPr marL="0" indent="0" algn="l">
              <a:lnSpc>
                <a:spcPct val="100000"/>
              </a:lnSpc>
              <a:spcBef>
                <a:spcPts val="0"/>
              </a:spcBef>
              <a:buNone/>
              <a:defRPr sz="1200" b="0">
                <a:solidFill>
                  <a:srgbClr val="FFFFFF"/>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9"/>
          </a:xfrm>
        </p:spPr>
        <p:txBody>
          <a:bodyPr wrap="square" tIns="0" bIns="0">
            <a:noAutofit/>
          </a:bodyPr>
          <a:lstStyle>
            <a:lvl1pPr algn="l">
              <a:lnSpc>
                <a:spcPct val="80000"/>
              </a:lnSpc>
              <a:tabLst>
                <a:tab pos="507974" algn="l"/>
              </a:tabLst>
              <a:defRPr sz="4500" b="0" cap="all" baseline="0">
                <a:solidFill>
                  <a:srgbClr val="009DD9"/>
                </a:solidFill>
              </a:defRPr>
            </a:lvl1pPr>
          </a:lstStyle>
          <a:p>
            <a:r>
              <a:rPr lang="en-US"/>
              <a:t>CLICK TO EDIT MASTER TITLE STYLE</a:t>
            </a:r>
          </a:p>
        </p:txBody>
      </p:sp>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pic>
        <p:nvPicPr>
          <p:cNvPr id="2052" name="Picture 4" descr="http://www.stagwellgroup.com/wp-content/uploads/2015/10/Harris-Insights-Analytic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12802" y="1295402"/>
            <a:ext cx="2840567" cy="1420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168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3204755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035685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2" name="Rectangle 1"/>
          <p:cNvSpPr/>
          <p:nvPr userDrawn="1"/>
        </p:nvSpPr>
        <p:spPr>
          <a:xfrm>
            <a:off x="0" y="7620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27027375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2783707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50" y="1634069"/>
            <a:ext cx="11402836" cy="4129617"/>
          </a:xfrm>
          <a:prstGeom prst="rect">
            <a:avLst/>
          </a:prstGeom>
        </p:spPr>
        <p:txBody>
          <a:bodyPr/>
          <a:lstStyle>
            <a:lvl1pPr marL="307832" indent="-228589">
              <a:lnSpc>
                <a:spcPct val="120000"/>
              </a:lnSpc>
              <a:spcBef>
                <a:spcPts val="0"/>
              </a:spcBef>
              <a:buClr>
                <a:schemeClr val="accent1"/>
              </a:buClr>
              <a:buFont typeface="Arial" charset="0"/>
              <a:buChar char="•"/>
              <a:defRPr sz="1400"/>
            </a:lvl1pPr>
            <a:lvl2pPr marL="841206" indent="-228589">
              <a:lnSpc>
                <a:spcPct val="120000"/>
              </a:lnSpc>
              <a:spcBef>
                <a:spcPts val="0"/>
              </a:spcBef>
              <a:buClr>
                <a:schemeClr val="accent1"/>
              </a:buClr>
              <a:buFont typeface="Arial" charset="0"/>
              <a:buChar char="•"/>
              <a:defRPr sz="1400"/>
            </a:lvl2pPr>
            <a:lvl3pPr marL="1374580" indent="-228589">
              <a:lnSpc>
                <a:spcPct val="120000"/>
              </a:lnSpc>
              <a:spcBef>
                <a:spcPts val="0"/>
              </a:spcBef>
              <a:buClr>
                <a:schemeClr val="accent1"/>
              </a:buClr>
              <a:buFont typeface="Arial" charset="0"/>
              <a:buChar char="•"/>
              <a:defRPr sz="1400"/>
            </a:lvl3pPr>
            <a:lvl4pPr marL="1984149" indent="-228589">
              <a:lnSpc>
                <a:spcPct val="120000"/>
              </a:lnSpc>
              <a:spcBef>
                <a:spcPts val="0"/>
              </a:spcBef>
              <a:buClr>
                <a:schemeClr val="accent1"/>
              </a:buClr>
              <a:buFont typeface="Arial" charset="0"/>
              <a:buChar char="•"/>
              <a:defRPr sz="1400"/>
            </a:lvl4pPr>
            <a:lvl5pPr marL="2593718" indent="-228589">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7555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2"/>
            <a:ext cx="11402836" cy="4311237"/>
          </a:xfrm>
          <a:prstGeom prst="rect">
            <a:avLst/>
          </a:prstGeom>
        </p:spPr>
        <p:txBody>
          <a:bodyPr/>
          <a:lstStyle>
            <a:lvl1pPr marL="228589" marR="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497106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016686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620864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69989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2"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449621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4638643"/>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6" y="5123164"/>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655871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62144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9851477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7390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2" y="1543052"/>
            <a:ext cx="11402484" cy="4857749"/>
          </a:xfrm>
          <a:prstGeom prst="rect">
            <a:avLst/>
          </a:prstGeom>
        </p:spPr>
        <p:txBody>
          <a:bodyPr/>
          <a:lstStyle/>
          <a:p>
            <a:endParaRPr lang="en-US"/>
          </a:p>
        </p:txBody>
      </p:sp>
    </p:spTree>
    <p:extLst>
      <p:ext uri="{BB962C8B-B14F-4D97-AF65-F5344CB8AC3E}">
        <p14:creationId xmlns:p14="http://schemas.microsoft.com/office/powerpoint/2010/main" val="25615988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3" y="518586"/>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0784486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429695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4"/>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2"/>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3026391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5"/>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433877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585"/>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1214444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161"/>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3560064"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690975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7" name="TextBox 6">
            <a:extLst>
              <a:ext uri="{FF2B5EF4-FFF2-40B4-BE49-F238E27FC236}">
                <a16:creationId xmlns:a16="http://schemas.microsoft.com/office/drawing/2014/main" id="{42F7AF7F-F01E-43FE-9E75-45C63413BF5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158363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3" y="518161"/>
            <a:ext cx="7467969" cy="6129867"/>
          </a:xfrm>
          <a:prstGeom prst="rect">
            <a:avLst/>
          </a:prstGeom>
        </p:spPr>
        <p:txBody>
          <a:bodyPr/>
          <a:lstStyle/>
          <a:p>
            <a:endParaRPr lang="en-US"/>
          </a:p>
        </p:txBody>
      </p:sp>
      <p:sp>
        <p:nvSpPr>
          <p:cNvPr id="8" name="TextBox 7">
            <a:extLst>
              <a:ext uri="{FF2B5EF4-FFF2-40B4-BE49-F238E27FC236}">
                <a16:creationId xmlns:a16="http://schemas.microsoft.com/office/drawing/2014/main" id="{181E2381-33DF-4622-81C6-F627BA7AA37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89937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897749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1766" y="462225"/>
            <a:ext cx="3883772" cy="801043"/>
          </a:xfrm>
          <a:prstGeom prst="rect">
            <a:avLst/>
          </a:prstGeom>
        </p:spPr>
      </p:pic>
      <p:sp>
        <p:nvSpPr>
          <p:cNvPr id="6" name="TextBox 5">
            <a:extLst>
              <a:ext uri="{FF2B5EF4-FFF2-40B4-BE49-F238E27FC236}">
                <a16:creationId xmlns:a16="http://schemas.microsoft.com/office/drawing/2014/main" id="{77EE2114-CD2D-4EF5-9632-9498AC79EAD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9274803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7" y="462225"/>
            <a:ext cx="3954985" cy="815731"/>
          </a:xfrm>
          <a:prstGeom prst="rect">
            <a:avLst/>
          </a:prstGeom>
        </p:spPr>
      </p:pic>
      <p:sp>
        <p:nvSpPr>
          <p:cNvPr id="6"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9" name="TextBox 8">
            <a:extLst>
              <a:ext uri="{FF2B5EF4-FFF2-40B4-BE49-F238E27FC236}">
                <a16:creationId xmlns:a16="http://schemas.microsoft.com/office/drawing/2014/main" id="{2E1A1482-F653-4FE6-B37E-ED953E526C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9478140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5" y="256579"/>
            <a:ext cx="2262131" cy="466572"/>
          </a:xfrm>
          <a:prstGeom prst="rect">
            <a:avLst/>
          </a:prstGeom>
        </p:spPr>
      </p:pic>
      <p:sp>
        <p:nvSpPr>
          <p:cNvPr id="6" name="TextBox 5">
            <a:extLst>
              <a:ext uri="{FF2B5EF4-FFF2-40B4-BE49-F238E27FC236}">
                <a16:creationId xmlns:a16="http://schemas.microsoft.com/office/drawing/2014/main" id="{49E465C9-2573-4401-B8C2-F58E015C799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5010015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5" y="256579"/>
            <a:ext cx="2262131" cy="466573"/>
          </a:xfrm>
          <a:prstGeom prst="rect">
            <a:avLst/>
          </a:prstGeom>
        </p:spPr>
      </p:pic>
      <p:sp>
        <p:nvSpPr>
          <p:cNvPr id="6" name="TextBox 5">
            <a:extLst>
              <a:ext uri="{FF2B5EF4-FFF2-40B4-BE49-F238E27FC236}">
                <a16:creationId xmlns:a16="http://schemas.microsoft.com/office/drawing/2014/main" id="{DBA55857-F64E-40C7-8FD4-429FFA9657C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9227962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2"/>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spcBef>
                <a:spcPts val="0"/>
              </a:spcBef>
              <a:buNone/>
              <a:defRPr sz="5600">
                <a:solidFill>
                  <a:schemeClr val="tx1"/>
                </a:solidFill>
                <a:latin typeface="+mn-lt"/>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9" name="TextBox 8">
            <a:extLst>
              <a:ext uri="{FF2B5EF4-FFF2-40B4-BE49-F238E27FC236}">
                <a16:creationId xmlns:a16="http://schemas.microsoft.com/office/drawing/2014/main" id="{50DD39BD-A0F1-4EB3-A85F-AEC9D2FE760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5338062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E3F74FB1-5B09-46F4-A296-1E7EF94C24F2}"/>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Stagwell Company (c) 2020</a:t>
            </a:r>
          </a:p>
        </p:txBody>
      </p:sp>
    </p:spTree>
    <p:extLst>
      <p:ext uri="{BB962C8B-B14F-4D97-AF65-F5344CB8AC3E}">
        <p14:creationId xmlns:p14="http://schemas.microsoft.com/office/powerpoint/2010/main" val="6060939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261775D4-12E9-4EAF-B059-2D8C5853F4AA}"/>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9973312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9" y="462225"/>
            <a:ext cx="3954985" cy="81573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EA1F387D-7D8F-4B87-B6AC-FB8B8C1A7FD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1957860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12"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2"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3" y="317501"/>
            <a:ext cx="300611" cy="304800"/>
          </a:xfrm>
          <a:prstGeom prst="rect">
            <a:avLst/>
          </a:prstGeom>
        </p:spPr>
      </p:pic>
      <p:sp>
        <p:nvSpPr>
          <p:cNvPr id="8" name="TextBox 7">
            <a:extLst>
              <a:ext uri="{FF2B5EF4-FFF2-40B4-BE49-F238E27FC236}">
                <a16:creationId xmlns:a16="http://schemas.microsoft.com/office/drawing/2014/main" id="{30C40346-66DB-41CC-90DA-3697300682E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9198955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
        <p:nvSpPr>
          <p:cNvPr id="10" name="TextBox 9">
            <a:extLst>
              <a:ext uri="{FF2B5EF4-FFF2-40B4-BE49-F238E27FC236}">
                <a16:creationId xmlns:a16="http://schemas.microsoft.com/office/drawing/2014/main" id="{7D2BDFCE-6EEC-42EA-8667-5499150C827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6889553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93520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3" y="311151"/>
            <a:ext cx="300611" cy="304800"/>
          </a:xfrm>
          <a:prstGeom prst="rect">
            <a:avLst/>
          </a:prstGeom>
        </p:spPr>
      </p:pic>
      <p:sp>
        <p:nvSpPr>
          <p:cNvPr id="12" name="TextBox 11">
            <a:extLst>
              <a:ext uri="{FF2B5EF4-FFF2-40B4-BE49-F238E27FC236}">
                <a16:creationId xmlns:a16="http://schemas.microsoft.com/office/drawing/2014/main" id="{6AEC99A6-A586-4304-9624-DCFDB1DCD9D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7080187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cxnSp>
        <p:nvCxnSpPr>
          <p:cNvPr id="10" name="Straight Connector 9"/>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3F462253-758A-4E97-B17A-A967968FD2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4087577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1" y="311152"/>
            <a:ext cx="300611" cy="304800"/>
          </a:xfrm>
          <a:prstGeom prst="rect">
            <a:avLst/>
          </a:prstGeom>
        </p:spPr>
      </p:pic>
      <p:sp>
        <p:nvSpPr>
          <p:cNvPr id="8" name="TextBox 7">
            <a:extLst>
              <a:ext uri="{FF2B5EF4-FFF2-40B4-BE49-F238E27FC236}">
                <a16:creationId xmlns:a16="http://schemas.microsoft.com/office/drawing/2014/main" id="{F9781A38-1178-4796-B99E-AD144FD554C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0490201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622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Box 3">
            <a:extLst>
              <a:ext uri="{FF2B5EF4-FFF2-40B4-BE49-F238E27FC236}">
                <a16:creationId xmlns:a16="http://schemas.microsoft.com/office/drawing/2014/main" id="{557D7459-0C31-4542-A3F0-E8B1A5DAB05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4922276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2412490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060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611104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1661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357970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33086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430695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5887495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026994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107123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0811102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8447423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2198833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2274227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507153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14916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760408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7905034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3941748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4539567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3626765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1366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599050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02359562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242879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7232955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00287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image" Target="file://localhost/Users/Houman/Dropbox%20(ETC)/the%20harris%20poll/Design/Final/PPT/assets/logo.png" TargetMode="Externa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theme" Target="../theme/theme2.xml"/><Relationship Id="rId8" Type="http://schemas.openxmlformats.org/officeDocument/2006/relationships/slideLayout" Target="../slideLayouts/slideLayout48.xml"/><Relationship Id="rId3"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image" Target="../media/image15.png"/><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theme" Target="../theme/theme3.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8" Type="http://schemas.openxmlformats.org/officeDocument/2006/relationships/slideLayout" Target="../slideLayouts/slideLayout8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image" Target="../media/image1.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theme" Target="../theme/theme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8" Type="http://schemas.openxmlformats.org/officeDocument/2006/relationships/slideLayout" Target="../slideLayouts/slideLayout11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3.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5.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8"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image" Target="../media/image15.png"/><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theme" Target="../theme/theme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image" Target="../media/image15.pn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slideLayout" Target="../slideLayouts/slideLayout224.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theme" Target="../theme/theme7.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slideLayout" Target="../slideLayouts/slideLayout22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8" Type="http://schemas.openxmlformats.org/officeDocument/2006/relationships/slideLayout" Target="../slideLayouts/slideLayout20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29" Type="http://schemas.openxmlformats.org/officeDocument/2006/relationships/slideLayout" Target="../slideLayouts/slideLayout255.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32" Type="http://schemas.openxmlformats.org/officeDocument/2006/relationships/image" Target="../media/image27.png"/><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slideLayout" Target="../slideLayouts/slideLayout254.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31" Type="http://schemas.openxmlformats.org/officeDocument/2006/relationships/theme" Target="../theme/theme8.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 Id="rId30" Type="http://schemas.openxmlformats.org/officeDocument/2006/relationships/slideLayout" Target="../slideLayouts/slideLayout256.xml"/><Relationship Id="rId8" Type="http://schemas.openxmlformats.org/officeDocument/2006/relationships/slideLayout" Target="../slideLayouts/slideLayout23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26" Type="http://schemas.openxmlformats.org/officeDocument/2006/relationships/slideLayout" Target="../slideLayouts/slideLayout282.xml"/><Relationship Id="rId3" Type="http://schemas.openxmlformats.org/officeDocument/2006/relationships/slideLayout" Target="../slideLayouts/slideLayout259.xml"/><Relationship Id="rId21" Type="http://schemas.openxmlformats.org/officeDocument/2006/relationships/slideLayout" Target="../slideLayouts/slideLayout277.xml"/><Relationship Id="rId34" Type="http://schemas.openxmlformats.org/officeDocument/2006/relationships/image" Target="../media/image15.png"/><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5" Type="http://schemas.openxmlformats.org/officeDocument/2006/relationships/slideLayout" Target="../slideLayouts/slideLayout281.xml"/><Relationship Id="rId33" Type="http://schemas.openxmlformats.org/officeDocument/2006/relationships/theme" Target="../theme/theme9.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20" Type="http://schemas.openxmlformats.org/officeDocument/2006/relationships/slideLayout" Target="../slideLayouts/slideLayout276.xml"/><Relationship Id="rId29" Type="http://schemas.openxmlformats.org/officeDocument/2006/relationships/slideLayout" Target="../slideLayouts/slideLayout285.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24" Type="http://schemas.openxmlformats.org/officeDocument/2006/relationships/slideLayout" Target="../slideLayouts/slideLayout280.xml"/><Relationship Id="rId32" Type="http://schemas.openxmlformats.org/officeDocument/2006/relationships/slideLayout" Target="../slideLayouts/slideLayout288.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23" Type="http://schemas.openxmlformats.org/officeDocument/2006/relationships/slideLayout" Target="../slideLayouts/slideLayout279.xml"/><Relationship Id="rId28" Type="http://schemas.openxmlformats.org/officeDocument/2006/relationships/slideLayout" Target="../slideLayouts/slideLayout284.xml"/><Relationship Id="rId10" Type="http://schemas.openxmlformats.org/officeDocument/2006/relationships/slideLayout" Target="../slideLayouts/slideLayout266.xml"/><Relationship Id="rId19" Type="http://schemas.openxmlformats.org/officeDocument/2006/relationships/slideLayout" Target="../slideLayouts/slideLayout275.xml"/><Relationship Id="rId31" Type="http://schemas.openxmlformats.org/officeDocument/2006/relationships/slideLayout" Target="../slideLayouts/slideLayout287.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slideLayout" Target="../slideLayouts/slideLayout278.xml"/><Relationship Id="rId27" Type="http://schemas.openxmlformats.org/officeDocument/2006/relationships/slideLayout" Target="../slideLayouts/slideLayout283.xml"/><Relationship Id="rId30" Type="http://schemas.openxmlformats.org/officeDocument/2006/relationships/slideLayout" Target="../slideLayouts/slideLayout286.xml"/><Relationship Id="rId35"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2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1</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42" r:link="rId4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546273564"/>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 id="2147484182" r:id="rId17"/>
    <p:sldLayoutId id="2147484183" r:id="rId18"/>
    <p:sldLayoutId id="2147484184" r:id="rId19"/>
    <p:sldLayoutId id="2147484185" r:id="rId20"/>
    <p:sldLayoutId id="2147484186" r:id="rId21"/>
    <p:sldLayoutId id="2147484187" r:id="rId22"/>
    <p:sldLayoutId id="2147484188" r:id="rId23"/>
    <p:sldLayoutId id="2147484189" r:id="rId24"/>
    <p:sldLayoutId id="2147484190" r:id="rId25"/>
    <p:sldLayoutId id="2147484191" r:id="rId26"/>
    <p:sldLayoutId id="2147484192" r:id="rId27"/>
    <p:sldLayoutId id="2147484193" r:id="rId28"/>
    <p:sldLayoutId id="2147484194" r:id="rId29"/>
    <p:sldLayoutId id="2147484195" r:id="rId30"/>
    <p:sldLayoutId id="2147484196" r:id="rId31"/>
    <p:sldLayoutId id="2147484197" r:id="rId32"/>
    <p:sldLayoutId id="2147484198" r:id="rId33"/>
    <p:sldLayoutId id="2147484199" r:id="rId34"/>
    <p:sldLayoutId id="2147484200" r:id="rId35"/>
    <p:sldLayoutId id="2147484201" r:id="rId36"/>
    <p:sldLayoutId id="2147484202" r:id="rId37"/>
    <p:sldLayoutId id="2147484203" r:id="rId38"/>
    <p:sldLayoutId id="2147484204" r:id="rId39"/>
    <p:sldLayoutId id="2147484205" r:id="rId4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cxnSp>
        <p:nvCxnSpPr>
          <p:cNvPr id="5" name="Straight Connector 4"/>
          <p:cNvCxnSpPr/>
          <p:nvPr userDrawn="1"/>
        </p:nvCxnSpPr>
        <p:spPr>
          <a:xfrm>
            <a:off x="308397"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6" r:link="rId37">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7" name="TextBox 6">
            <a:extLst>
              <a:ext uri="{FF2B5EF4-FFF2-40B4-BE49-F238E27FC236}">
                <a16:creationId xmlns:a16="http://schemas.microsoft.com/office/drawing/2014/main" id="{06C707BA-6FD5-4064-A2EB-A00D517FB9D8}"/>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157776972"/>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 id="2147484275" r:id="rId33"/>
    <p:sldLayoutId id="2147484276" r:id="rId34"/>
  </p:sldLayoutIdLst>
  <p:hf hdr="0"/>
  <p:txStyles>
    <p:titleStyle>
      <a:lvl1pPr algn="l" defTabSz="609570"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78" indent="-457178" algn="l" defTabSz="609570" rtl="0" eaLnBrk="1" latinLnBrk="0" hangingPunct="1">
        <a:spcBef>
          <a:spcPct val="20000"/>
        </a:spcBef>
        <a:buFont typeface="Arial"/>
        <a:buChar char="•"/>
        <a:defRPr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1</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4188616087"/>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 id="2147484372" r:id="rId19"/>
    <p:sldLayoutId id="2147484373" r:id="rId20"/>
    <p:sldLayoutId id="2147484374" r:id="rId21"/>
    <p:sldLayoutId id="2147484375" r:id="rId22"/>
    <p:sldLayoutId id="2147484376" r:id="rId23"/>
    <p:sldLayoutId id="2147484377" r:id="rId24"/>
    <p:sldLayoutId id="2147484378" r:id="rId25"/>
    <p:sldLayoutId id="2147484379" r:id="rId26"/>
    <p:sldLayoutId id="2147484380" r:id="rId27"/>
    <p:sldLayoutId id="2147484381" r:id="rId28"/>
    <p:sldLayoutId id="2147484382" r:id="rId29"/>
    <p:sldLayoutId id="2147484383" r:id="rId30"/>
    <p:sldLayoutId id="2147484385"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Stagwell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455897559"/>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 id="2147484407" r:id="rId21"/>
    <p:sldLayoutId id="2147484408"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Stagwell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2584656963"/>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 id="2147484437" r:id="rId20"/>
    <p:sldLayoutId id="2147484438" r:id="rId21"/>
    <p:sldLayoutId id="2147484439" r:id="rId22"/>
    <p:sldLayoutId id="2147484440" r:id="rId23"/>
    <p:sldLayoutId id="2147484441" r:id="rId24"/>
    <p:sldLayoutId id="2147484442" r:id="rId25"/>
    <p:sldLayoutId id="2147484443" r:id="rId26"/>
    <p:sldLayoutId id="2147484444" r:id="rId27"/>
    <p:sldLayoutId id="2147484445" r:id="rId28"/>
    <p:sldLayoutId id="2147484446" r:id="rId29"/>
    <p:sldLayoutId id="2147484447"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Stagwell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254712362"/>
      </p:ext>
    </p:extLst>
  </p:cSld>
  <p:clrMap bg1="lt1" tx1="dk1" bg2="lt2" tx2="dk2" accent1="accent1" accent2="accent2" accent3="accent3" accent4="accent4" accent5="accent5" accent6="accent6" hlink="hlink" folHlink="folHlink"/>
  <p:sldLayoutIdLst>
    <p:sldLayoutId id="2147484484" r:id="rId1"/>
    <p:sldLayoutId id="2147484485" r:id="rId2"/>
    <p:sldLayoutId id="2147484486" r:id="rId3"/>
    <p:sldLayoutId id="2147484487" r:id="rId4"/>
    <p:sldLayoutId id="2147484488" r:id="rId5"/>
    <p:sldLayoutId id="2147484489" r:id="rId6"/>
    <p:sldLayoutId id="2147484490" r:id="rId7"/>
    <p:sldLayoutId id="2147484491" r:id="rId8"/>
    <p:sldLayoutId id="2147484492" r:id="rId9"/>
    <p:sldLayoutId id="2147484493" r:id="rId10"/>
    <p:sldLayoutId id="2147484494" r:id="rId11"/>
    <p:sldLayoutId id="2147484495" r:id="rId12"/>
    <p:sldLayoutId id="2147484496" r:id="rId13"/>
    <p:sldLayoutId id="2147484497" r:id="rId14"/>
    <p:sldLayoutId id="2147484498" r:id="rId15"/>
    <p:sldLayoutId id="2147484499" r:id="rId16"/>
    <p:sldLayoutId id="2147484500" r:id="rId17"/>
    <p:sldLayoutId id="2147484501" r:id="rId18"/>
    <p:sldLayoutId id="2147484502" r:id="rId19"/>
    <p:sldLayoutId id="2147484503" r:id="rId20"/>
    <p:sldLayoutId id="2147484504" r:id="rId21"/>
    <p:sldLayoutId id="2147484505" r:id="rId22"/>
    <p:sldLayoutId id="2147484506" r:id="rId23"/>
    <p:sldLayoutId id="2147484507" r:id="rId24"/>
    <p:sldLayoutId id="2147484508" r:id="rId25"/>
    <p:sldLayoutId id="2147484509" r:id="rId26"/>
    <p:sldLayoutId id="2147484510" r:id="rId27"/>
    <p:sldLayoutId id="2147484511" r:id="rId28"/>
    <p:sldLayoutId id="2147484512" r:id="rId29"/>
    <p:sldLayoutId id="2147484513"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956094407"/>
      </p:ext>
    </p:extLst>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 id="2147484525" r:id="rId11"/>
    <p:sldLayoutId id="2147484526" r:id="rId12"/>
    <p:sldLayoutId id="2147484527" r:id="rId13"/>
    <p:sldLayoutId id="2147484528" r:id="rId14"/>
    <p:sldLayoutId id="2147484529" r:id="rId15"/>
    <p:sldLayoutId id="2147484530" r:id="rId16"/>
    <p:sldLayoutId id="2147484531" r:id="rId17"/>
    <p:sldLayoutId id="2147484532" r:id="rId18"/>
    <p:sldLayoutId id="2147484533" r:id="rId19"/>
    <p:sldLayoutId id="2147484534" r:id="rId20"/>
    <p:sldLayoutId id="2147484535" r:id="rId21"/>
    <p:sldLayoutId id="2147484536" r:id="rId22"/>
    <p:sldLayoutId id="2147484537" r:id="rId23"/>
    <p:sldLayoutId id="2147484538" r:id="rId24"/>
    <p:sldLayoutId id="2147484539" r:id="rId25"/>
    <p:sldLayoutId id="2147484540" r:id="rId26"/>
    <p:sldLayoutId id="2147484541" r:id="rId27"/>
    <p:sldLayoutId id="2147484542" r:id="rId28"/>
    <p:sldLayoutId id="2147484543" r:id="rId29"/>
    <p:sldLayoutId id="2147484544" r:id="rId30"/>
    <p:sldLayoutId id="2147484545"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502997090"/>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 id="2147484595" r:id="rId16"/>
    <p:sldLayoutId id="2147484596" r:id="rId17"/>
    <p:sldLayoutId id="2147484597" r:id="rId18"/>
    <p:sldLayoutId id="2147484598" r:id="rId19"/>
    <p:sldLayoutId id="2147484599" r:id="rId20"/>
    <p:sldLayoutId id="2147484600" r:id="rId21"/>
    <p:sldLayoutId id="2147484601" r:id="rId22"/>
    <p:sldLayoutId id="2147484602" r:id="rId23"/>
    <p:sldLayoutId id="2147484603" r:id="rId24"/>
    <p:sldLayoutId id="2147484604" r:id="rId25"/>
    <p:sldLayoutId id="2147484605" r:id="rId26"/>
    <p:sldLayoutId id="2147484606" r:id="rId27"/>
    <p:sldLayoutId id="2147484607" r:id="rId28"/>
    <p:sldLayoutId id="2147484608" r:id="rId29"/>
    <p:sldLayoutId id="2147484609"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4" r:link="rId35"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149565699"/>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 id="2147484624" r:id="rId14"/>
    <p:sldLayoutId id="2147484625" r:id="rId15"/>
    <p:sldLayoutId id="2147484626" r:id="rId16"/>
    <p:sldLayoutId id="2147484627" r:id="rId17"/>
    <p:sldLayoutId id="2147484628" r:id="rId18"/>
    <p:sldLayoutId id="2147484629" r:id="rId19"/>
    <p:sldLayoutId id="2147484630" r:id="rId20"/>
    <p:sldLayoutId id="2147484631" r:id="rId21"/>
    <p:sldLayoutId id="2147484632" r:id="rId22"/>
    <p:sldLayoutId id="2147484633" r:id="rId23"/>
    <p:sldLayoutId id="2147484634" r:id="rId24"/>
    <p:sldLayoutId id="2147484635" r:id="rId25"/>
    <p:sldLayoutId id="2147484636" r:id="rId26"/>
    <p:sldLayoutId id="2147484637" r:id="rId27"/>
    <p:sldLayoutId id="2147484638" r:id="rId28"/>
    <p:sldLayoutId id="2147484639" r:id="rId29"/>
    <p:sldLayoutId id="2147484640" r:id="rId30"/>
    <p:sldLayoutId id="2147484642" r:id="rId31"/>
    <p:sldLayoutId id="2147484643" r:id="rId32"/>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33.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1" descr="orlink:ORRange2@Data!$B$49:$B$50€0€0€€0€0€0€0€€0"/>
          <p:cNvSpPr>
            <a:spLocks noGrp="1"/>
          </p:cNvSpPr>
          <p:nvPr>
            <p:ph type="ctrTitle"/>
          </p:nvPr>
        </p:nvSpPr>
        <p:spPr>
          <a:xfrm>
            <a:off x="267419" y="2157598"/>
            <a:ext cx="11548064" cy="1850062"/>
          </a:xfrm>
        </p:spPr>
        <p:txBody>
          <a:bodyPr/>
          <a:lstStyle/>
          <a:p>
            <a:r>
              <a:rPr lang="en-US" sz="4400" b="0" dirty="0"/>
              <a:t>OOH Consumer Insights &amp; Intent Q1 2022</a:t>
            </a:r>
            <a:br>
              <a:rPr lang="en-US" b="0" dirty="0"/>
            </a:br>
            <a:r>
              <a:rPr lang="en-US" sz="2000" b="0" dirty="0"/>
              <a:t>Opportunities: Local and Summer Travel, Seasonal Shopping, and the Automotive Category</a:t>
            </a:r>
            <a:br>
              <a:rPr lang="en-US" sz="2000" b="0" dirty="0"/>
            </a:br>
            <a:br>
              <a:rPr lang="en-US" sz="2000" b="0" dirty="0"/>
            </a:br>
            <a:r>
              <a:rPr lang="en-US" sz="3200" b="0" dirty="0"/>
              <a:t>Executive Summary</a:t>
            </a:r>
            <a:endParaRPr lang="en-US" sz="3200" b="0" dirty="0">
              <a:latin typeface="Helvetica Light" panose="020B0403020202020204" pitchFamily="34" charset="0"/>
            </a:endParaRPr>
          </a:p>
        </p:txBody>
      </p:sp>
      <p:graphicFrame>
        <p:nvGraphicFramePr>
          <p:cNvPr id="6" name="Table-1"/>
          <p:cNvGraphicFramePr>
            <a:graphicFrameLocks noGrp="1"/>
          </p:cNvGraphicFramePr>
          <p:nvPr>
            <p:extLst>
              <p:ext uri="{D42A27DB-BD31-4B8C-83A1-F6EECF244321}">
                <p14:modId xmlns:p14="http://schemas.microsoft.com/office/powerpoint/2010/main" val="3286527013"/>
              </p:ext>
            </p:extLst>
          </p:nvPr>
        </p:nvGraphicFramePr>
        <p:xfrm>
          <a:off x="910884" y="4311144"/>
          <a:ext cx="3253563" cy="494453"/>
        </p:xfrm>
        <a:graphic>
          <a:graphicData uri="http://schemas.openxmlformats.org/drawingml/2006/table">
            <a:tbl>
              <a:tblPr firstRow="1" bandRow="1">
                <a:tableStyleId>{2D5ABB26-0587-4C30-8999-92F81FD0307C}</a:tableStyleId>
              </a:tblPr>
              <a:tblGrid>
                <a:gridCol w="3253563">
                  <a:extLst>
                    <a:ext uri="{9D8B030D-6E8A-4147-A177-3AD203B41FA5}">
                      <a16:colId xmlns:a16="http://schemas.microsoft.com/office/drawing/2014/main" val="20000"/>
                    </a:ext>
                  </a:extLst>
                </a:gridCol>
              </a:tblGrid>
              <a:tr h="494453">
                <a:tc>
                  <a:txBody>
                    <a:bodyPr/>
                    <a:lstStyle/>
                    <a:p>
                      <a:r>
                        <a:rPr lang="en-US" sz="2400" b="0" i="0" dirty="0">
                          <a:solidFill>
                            <a:schemeClr val="tx1"/>
                          </a:solidFill>
                          <a:latin typeface="+mj-lt"/>
                        </a:rPr>
                        <a:t>March 10, 2022</a:t>
                      </a:r>
                    </a:p>
                  </a:txBody>
                  <a:tcPr marL="121920" marR="121920" marT="60960" marB="60960" anchor="ctr"/>
                </a:tc>
                <a:extLst>
                  <a:ext uri="{0D108BD9-81ED-4DB2-BD59-A6C34878D82A}">
                    <a16:rowId xmlns:a16="http://schemas.microsoft.com/office/drawing/2014/main" val="10001"/>
                  </a:ext>
                </a:extLst>
              </a:tr>
            </a:tbl>
          </a:graphicData>
        </a:graphic>
      </p:graphicFrame>
      <p:pic>
        <p:nvPicPr>
          <p:cNvPr id="4" name="Picture 3" descr="A picture containing drawing&#10;&#10;Description automatically generated">
            <a:extLst>
              <a:ext uri="{FF2B5EF4-FFF2-40B4-BE49-F238E27FC236}">
                <a16:creationId xmlns:a16="http://schemas.microsoft.com/office/drawing/2014/main" id="{1269CC77-0E84-48DC-AD86-A337B9D166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4338" y="4929991"/>
            <a:ext cx="4446451" cy="1433238"/>
          </a:xfrm>
          <a:prstGeom prst="rect">
            <a:avLst/>
          </a:prstGeom>
        </p:spPr>
      </p:pic>
    </p:spTree>
    <p:extLst>
      <p:ext uri="{BB962C8B-B14F-4D97-AF65-F5344CB8AC3E}">
        <p14:creationId xmlns:p14="http://schemas.microsoft.com/office/powerpoint/2010/main" val="1654618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BC5A5E0-02BF-4D43-85D0-3FBCD3ABE149}"/>
              </a:ext>
            </a:extLst>
          </p:cNvPr>
          <p:cNvSpPr>
            <a:spLocks noGrp="1"/>
          </p:cNvSpPr>
          <p:nvPr>
            <p:ph type="title"/>
          </p:nvPr>
        </p:nvSpPr>
        <p:spPr>
          <a:xfrm>
            <a:off x="200026" y="482600"/>
            <a:ext cx="11403471" cy="433739"/>
          </a:xfrm>
        </p:spPr>
        <p:txBody>
          <a:bodyPr/>
          <a:lstStyle/>
          <a:p>
            <a:r>
              <a:rPr lang="en-US" b="1" dirty="0">
                <a:latin typeface="+mn-lt"/>
              </a:rPr>
              <a:t>Key Takeaways </a:t>
            </a:r>
            <a:endParaRPr lang="en-US" b="1" dirty="0">
              <a:highlight>
                <a:srgbClr val="FFFF00"/>
              </a:highlight>
              <a:latin typeface="+mn-lt"/>
            </a:endParaRPr>
          </a:p>
        </p:txBody>
      </p:sp>
      <p:graphicFrame>
        <p:nvGraphicFramePr>
          <p:cNvPr id="13" name="Table 12">
            <a:extLst>
              <a:ext uri="{FF2B5EF4-FFF2-40B4-BE49-F238E27FC236}">
                <a16:creationId xmlns:a16="http://schemas.microsoft.com/office/drawing/2014/main" id="{E3EBA47B-C3BB-4E7A-BA64-389C908DCB57}"/>
              </a:ext>
            </a:extLst>
          </p:cNvPr>
          <p:cNvGraphicFramePr>
            <a:graphicFrameLocks noGrp="1"/>
          </p:cNvGraphicFramePr>
          <p:nvPr>
            <p:extLst>
              <p:ext uri="{D42A27DB-BD31-4B8C-83A1-F6EECF244321}">
                <p14:modId xmlns:p14="http://schemas.microsoft.com/office/powerpoint/2010/main" val="3431397609"/>
              </p:ext>
            </p:extLst>
          </p:nvPr>
        </p:nvGraphicFramePr>
        <p:xfrm>
          <a:off x="756104" y="1239253"/>
          <a:ext cx="10291314" cy="5334000"/>
        </p:xfrm>
        <a:graphic>
          <a:graphicData uri="http://schemas.openxmlformats.org/drawingml/2006/table">
            <a:tbl>
              <a:tblPr firstRow="1" bandRow="1">
                <a:tableStyleId>{5940675A-B579-460E-94D1-54222C63F5DA}</a:tableStyleId>
              </a:tblPr>
              <a:tblGrid>
                <a:gridCol w="523855">
                  <a:extLst>
                    <a:ext uri="{9D8B030D-6E8A-4147-A177-3AD203B41FA5}">
                      <a16:colId xmlns:a16="http://schemas.microsoft.com/office/drawing/2014/main" val="20000"/>
                    </a:ext>
                  </a:extLst>
                </a:gridCol>
                <a:gridCol w="9767459">
                  <a:extLst>
                    <a:ext uri="{9D8B030D-6E8A-4147-A177-3AD203B41FA5}">
                      <a16:colId xmlns:a16="http://schemas.microsoft.com/office/drawing/2014/main" val="20001"/>
                    </a:ext>
                  </a:extLst>
                </a:gridCol>
              </a:tblGrid>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dirty="0">
                          <a:latin typeface="+mj-lt"/>
                        </a:rPr>
                        <a:t>Workers are continuing the trek back to the office:</a:t>
                      </a:r>
                      <a:r>
                        <a:rPr lang="en-US" sz="1400" b="0" i="0" dirty="0">
                          <a:latin typeface="+mj-lt"/>
                        </a:rPr>
                        <a:t> (80%) of workers expect to be commuting in spring of 2022, rising to (84%) by summer 2022 and up from (71%) of workers in winter 2021. (63%) expect to commute daily this spring, rising to (64%) by summer.</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465504"/>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dirty="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dirty="0"/>
                        <a:t>The pandemic continues to drive awareness of OOH: </a:t>
                      </a:r>
                      <a:r>
                        <a:rPr lang="en-US" sz="1400" b="0" dirty="0"/>
                        <a:t>(</a:t>
                      </a:r>
                      <a:r>
                        <a:rPr lang="en-US" sz="1400" dirty="0"/>
                        <a:t>43%) of consumers say they are noticing OOH More now than before the pandemic began, especially Gen Z (63%), Urbanites in cities of 1M+ population (62%), and Millennials (59%). Conversely, consumers are annoyed with online digital media ads that interrupt their viewing, listening, and reading experiences (78%), and they frequently skip online ads due to digital device burnout (68%).</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dirty="0"/>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862520"/>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a:solidFill>
                            <a:schemeClr val="tx1"/>
                          </a:solidFill>
                          <a:latin typeface="+mn-lt"/>
                          <a:ea typeface="+mn-ea"/>
                          <a:cs typeface="+mn-cs"/>
                        </a:rPr>
                        <a:t>Americans are increasingly comfortable traveling by all modes of transportation: </a:t>
                      </a:r>
                      <a:r>
                        <a:rPr lang="en-US" sz="1400" b="0" i="0" kern="1200">
                          <a:solidFill>
                            <a:schemeClr val="tx1"/>
                          </a:solidFill>
                          <a:latin typeface="+mn-lt"/>
                          <a:ea typeface="+mn-ea"/>
                          <a:cs typeface="+mn-cs"/>
                        </a:rPr>
                        <a:t>(69%) of the public feels safe flying given the pandemic – up from (59%) in April 2021, while (62%) feel comfortable using ride shares and (61%) using taxis – both up significantly from April 2021. Almost sixty percent (58%) of consumers in cities of 1M+ population feel safe traveling by subway. Urbanites and Millennials are the most comfortable traveling by a variety of transportation modes. </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0127740"/>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dirty="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In Summer 2022, over 80% of Americans plan to take vacation with many taking more time off than last summer: </a:t>
                      </a:r>
                      <a:r>
                        <a:rPr kumimoji="0" lang="en-US" sz="1400" b="0" i="0" u="none" strike="noStrike" kern="1200" cap="none" spc="0" normalizeH="0" baseline="0" noProof="0" dirty="0">
                          <a:ln>
                            <a:noFill/>
                          </a:ln>
                          <a:solidFill>
                            <a:srgbClr val="000000"/>
                          </a:solidFill>
                          <a:effectLst/>
                          <a:uLnTx/>
                          <a:uFillTx/>
                          <a:latin typeface="+mn-lt"/>
                          <a:ea typeface="+mn-ea"/>
                          <a:cs typeface="+mn-cs"/>
                        </a:rPr>
                        <a:t>(85%) of consumers plan to travel for summer vacation and nearly half (48%) will take two weeks or more, up from (41%) in summer 2021. Almost four-fifths (79%) plan to drive, and 46% plan to fly. Boomers are the most likely to take the time off, with (60%) planning to take two weeks or more. </a:t>
                      </a:r>
                      <a:endParaRPr kumimoji="0" lang="en-US" sz="24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658045"/>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1" kern="1200" dirty="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And they’ll be eyeing the great outdoors:</a:t>
                      </a:r>
                      <a:r>
                        <a:rPr lang="en-US" sz="1400" b="0" i="0" kern="1200" dirty="0">
                          <a:solidFill>
                            <a:schemeClr val="tx1"/>
                          </a:solidFill>
                          <a:latin typeface="+mn-lt"/>
                          <a:ea typeface="+mn-ea"/>
                          <a:cs typeface="+mn-cs"/>
                        </a:rPr>
                        <a:t> (65%) of Americans are likely to visit a beach or lake this summer, while (53%) are likely to visit national or state parks.</a:t>
                      </a:r>
                    </a:p>
                    <a:p>
                      <a:pPr marL="0" marR="0" lvl="0" indent="0" algn="l" defTabSz="609570"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5985634"/>
                  </a:ext>
                </a:extLst>
              </a:tr>
            </a:tbl>
          </a:graphicData>
        </a:graphic>
      </p:graphicFrame>
      <p:sp>
        <p:nvSpPr>
          <p:cNvPr id="8" name="Text Placeholder 5">
            <a:extLst>
              <a:ext uri="{FF2B5EF4-FFF2-40B4-BE49-F238E27FC236}">
                <a16:creationId xmlns:a16="http://schemas.microsoft.com/office/drawing/2014/main" id="{379BAC47-76A7-0147-BB29-A25C1557DD9E}"/>
              </a:ext>
            </a:extLst>
          </p:cNvPr>
          <p:cNvSpPr>
            <a:spLocks noGrp="1"/>
          </p:cNvSpPr>
          <p:nvPr>
            <p:ph type="body" sz="quarter" idx="11"/>
          </p:nvPr>
        </p:nvSpPr>
        <p:spPr>
          <a:xfrm>
            <a:off x="200026" y="191785"/>
            <a:ext cx="7715723" cy="252573"/>
          </a:xfrm>
        </p:spPr>
        <p:txBody>
          <a:bodyPr/>
          <a:lstStyle/>
          <a:p>
            <a:r>
              <a:rPr lang="en-US" b="1" dirty="0">
                <a:solidFill>
                  <a:schemeClr val="accent2"/>
                </a:solidFill>
              </a:rPr>
              <a:t>OAAA Q1 2022 - CONSUMER TRENDS FOR OOH</a:t>
            </a:r>
          </a:p>
        </p:txBody>
      </p:sp>
    </p:spTree>
    <p:extLst>
      <p:ext uri="{BB962C8B-B14F-4D97-AF65-F5344CB8AC3E}">
        <p14:creationId xmlns:p14="http://schemas.microsoft.com/office/powerpoint/2010/main" val="3892478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BC5A5E0-02BF-4D43-85D0-3FBCD3ABE149}"/>
              </a:ext>
            </a:extLst>
          </p:cNvPr>
          <p:cNvSpPr>
            <a:spLocks noGrp="1"/>
          </p:cNvSpPr>
          <p:nvPr>
            <p:ph type="title"/>
          </p:nvPr>
        </p:nvSpPr>
        <p:spPr>
          <a:xfrm>
            <a:off x="200026" y="482600"/>
            <a:ext cx="11403471" cy="433739"/>
          </a:xfrm>
        </p:spPr>
        <p:txBody>
          <a:bodyPr/>
          <a:lstStyle/>
          <a:p>
            <a:r>
              <a:rPr lang="en-US" b="1" dirty="0">
                <a:latin typeface="+mn-lt"/>
              </a:rPr>
              <a:t>Key Takeaways </a:t>
            </a:r>
            <a:endParaRPr lang="en-US" b="1" dirty="0">
              <a:highlight>
                <a:srgbClr val="FFFF00"/>
              </a:highlight>
              <a:latin typeface="+mn-lt"/>
            </a:endParaRPr>
          </a:p>
        </p:txBody>
      </p:sp>
      <p:graphicFrame>
        <p:nvGraphicFramePr>
          <p:cNvPr id="13" name="Table 12">
            <a:extLst>
              <a:ext uri="{FF2B5EF4-FFF2-40B4-BE49-F238E27FC236}">
                <a16:creationId xmlns:a16="http://schemas.microsoft.com/office/drawing/2014/main" id="{E3EBA47B-C3BB-4E7A-BA64-389C908DCB57}"/>
              </a:ext>
            </a:extLst>
          </p:cNvPr>
          <p:cNvGraphicFramePr>
            <a:graphicFrameLocks noGrp="1"/>
          </p:cNvGraphicFramePr>
          <p:nvPr>
            <p:extLst>
              <p:ext uri="{D42A27DB-BD31-4B8C-83A1-F6EECF244321}">
                <p14:modId xmlns:p14="http://schemas.microsoft.com/office/powerpoint/2010/main" val="418706541"/>
              </p:ext>
            </p:extLst>
          </p:nvPr>
        </p:nvGraphicFramePr>
        <p:xfrm>
          <a:off x="888521" y="1549804"/>
          <a:ext cx="10308566" cy="4907280"/>
        </p:xfrm>
        <a:graphic>
          <a:graphicData uri="http://schemas.openxmlformats.org/drawingml/2006/table">
            <a:tbl>
              <a:tblPr firstRow="1" bandRow="1">
                <a:tableStyleId>{5940675A-B579-460E-94D1-54222C63F5DA}</a:tableStyleId>
              </a:tblPr>
              <a:tblGrid>
                <a:gridCol w="524734">
                  <a:extLst>
                    <a:ext uri="{9D8B030D-6E8A-4147-A177-3AD203B41FA5}">
                      <a16:colId xmlns:a16="http://schemas.microsoft.com/office/drawing/2014/main" val="20000"/>
                    </a:ext>
                  </a:extLst>
                </a:gridCol>
                <a:gridCol w="9783832">
                  <a:extLst>
                    <a:ext uri="{9D8B030D-6E8A-4147-A177-3AD203B41FA5}">
                      <a16:colId xmlns:a16="http://schemas.microsoft.com/office/drawing/2014/main" val="20001"/>
                    </a:ext>
                  </a:extLst>
                </a:gridCol>
              </a:tblGrid>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OOH drives awareness for seasonal holiday and event gift purchases: </a:t>
                      </a:r>
                      <a:r>
                        <a:rPr lang="en-US" sz="1400" b="0" i="0" kern="1200" dirty="0">
                          <a:solidFill>
                            <a:schemeClr val="tx1"/>
                          </a:solidFill>
                          <a:latin typeface="+mn-lt"/>
                          <a:ea typeface="+mn-ea"/>
                          <a:cs typeface="+mn-cs"/>
                        </a:rPr>
                        <a:t>(42%) of Americans who find advertisements useful say they look to OOH when making purchases for events like Mother’s and Father’s Day, weddings, and graduations. This interest is especially prominent among consumers in cities of 1M+ population (55%) and Millennials in Urban areas with 1M+ population (66%). </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kern="1200" dirty="0">
                        <a:solidFill>
                          <a:schemeClr val="tx1"/>
                        </a:solidFill>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465504"/>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dirty="0">
                          <a:latin typeface="+mj-lt"/>
                        </a:rPr>
                        <a:t>Gift purchases by Younger Consumers and Urbanites Most Likely to be Influenced by OOH Ads: </a:t>
                      </a:r>
                      <a:r>
                        <a:rPr lang="en-US" sz="1400" b="0" i="0" dirty="0">
                          <a:latin typeface="+mj-lt"/>
                        </a:rPr>
                        <a:t>Gen Z and consumers in cities 1M + populations, respectively, are influenced by OOH for these gift giving events: Mother’s Day (61%) and (60%); Father’s Day (46%) and (54%); weddings (51%) and (58%); and graduations (49%) and (50%). </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862520"/>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dirty="0">
                          <a:latin typeface="+mj-lt"/>
                        </a:rPr>
                        <a:t>Nearly 4 in 10 (38%) recall seeing an automotive OOH ad recently, </a:t>
                      </a:r>
                      <a:r>
                        <a:rPr lang="en-US" sz="1400" b="0" i="0" dirty="0">
                          <a:latin typeface="+mj-lt"/>
                        </a:rPr>
                        <a:t>especially urban consumers and younger generations: 52% of those in cities of 1M+ populations, (50%) of Gen Z and (49%) of Millennials recall as well as (49%) of Men.</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658045"/>
                  </a:ext>
                </a:extLst>
              </a:tr>
              <a:tr h="627126">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dirty="0"/>
                        <a:t>Over 4 in 10 (43%) of automotive OOH ad viewers engaged with the ad: </a:t>
                      </a:r>
                      <a:r>
                        <a:rPr lang="en-US" sz="1400" b="0" dirty="0"/>
                        <a:t>(38</a:t>
                      </a:r>
                      <a:r>
                        <a:rPr lang="en-US" sz="1400" dirty="0"/>
                        <a:t>%) visited the website of or did more online research about the dealer or brand. (30%) shared information about the ad by word of mouth, and (</a:t>
                      </a:r>
                      <a:r>
                        <a:rPr lang="en-US" sz="1400"/>
                        <a:t>23%) </a:t>
                      </a:r>
                      <a:r>
                        <a:rPr lang="en-US" sz="1400" dirty="0"/>
                        <a:t>visited the dealer or </a:t>
                      </a:r>
                      <a:r>
                        <a:rPr lang="en-US" sz="1400"/>
                        <a:t>brand showroom. </a:t>
                      </a:r>
                      <a:endParaRPr lang="en-US" sz="1400" dirty="0"/>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dirty="0"/>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34087"/>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1"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Automotive OOH ads most likely to engage consumers: </a:t>
                      </a:r>
                      <a:r>
                        <a:rPr lang="en-US" sz="1400" b="0" i="0" kern="1200" dirty="0">
                          <a:solidFill>
                            <a:schemeClr val="tx1"/>
                          </a:solidFill>
                          <a:latin typeface="+mn-lt"/>
                          <a:ea typeface="+mn-ea"/>
                          <a:cs typeface="+mn-cs"/>
                        </a:rPr>
                        <a:t>(45%) new model release, (37%) fuel economy, (36%) limited time special pricing, (26%) maintenance and service, and (25%) limited time financing offers.</a:t>
                      </a: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5985634"/>
                  </a:ext>
                </a:extLst>
              </a:tr>
            </a:tbl>
          </a:graphicData>
        </a:graphic>
      </p:graphicFrame>
      <p:sp>
        <p:nvSpPr>
          <p:cNvPr id="8" name="Text Placeholder 5">
            <a:extLst>
              <a:ext uri="{FF2B5EF4-FFF2-40B4-BE49-F238E27FC236}">
                <a16:creationId xmlns:a16="http://schemas.microsoft.com/office/drawing/2014/main" id="{379BAC47-76A7-0147-BB29-A25C1557DD9E}"/>
              </a:ext>
            </a:extLst>
          </p:cNvPr>
          <p:cNvSpPr>
            <a:spLocks noGrp="1"/>
          </p:cNvSpPr>
          <p:nvPr>
            <p:ph type="body" sz="quarter" idx="11"/>
          </p:nvPr>
        </p:nvSpPr>
        <p:spPr>
          <a:xfrm>
            <a:off x="200026" y="191785"/>
            <a:ext cx="7715723" cy="252573"/>
          </a:xfrm>
        </p:spPr>
        <p:txBody>
          <a:bodyPr/>
          <a:lstStyle/>
          <a:p>
            <a:r>
              <a:rPr lang="en-US" b="1" dirty="0">
                <a:solidFill>
                  <a:schemeClr val="accent2"/>
                </a:solidFill>
              </a:rPr>
              <a:t>OAAA Q1 2022 - CONSUMER TRENDS FOR OOH</a:t>
            </a:r>
          </a:p>
        </p:txBody>
      </p:sp>
    </p:spTree>
    <p:extLst>
      <p:ext uri="{BB962C8B-B14F-4D97-AF65-F5344CB8AC3E}">
        <p14:creationId xmlns:p14="http://schemas.microsoft.com/office/powerpoint/2010/main" val="1941136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7FB5F0-E6B6-4C6B-820A-361958DC41E1}"/>
              </a:ext>
            </a:extLst>
          </p:cNvPr>
          <p:cNvSpPr>
            <a:spLocks noGrp="1"/>
          </p:cNvSpPr>
          <p:nvPr>
            <p:ph type="title"/>
          </p:nvPr>
        </p:nvSpPr>
        <p:spPr/>
        <p:txBody>
          <a:bodyPr/>
          <a:lstStyle/>
          <a:p>
            <a:r>
              <a:rPr lang="en-US" b="1" dirty="0">
                <a:latin typeface="+mn-lt"/>
              </a:rPr>
              <a:t>Methodology</a:t>
            </a:r>
          </a:p>
        </p:txBody>
      </p:sp>
      <p:graphicFrame>
        <p:nvGraphicFramePr>
          <p:cNvPr id="5" name="Table 4">
            <a:extLst>
              <a:ext uri="{FF2B5EF4-FFF2-40B4-BE49-F238E27FC236}">
                <a16:creationId xmlns:a16="http://schemas.microsoft.com/office/drawing/2014/main" id="{93A84613-EFE3-4D08-9FF1-1F576140A65F}"/>
              </a:ext>
            </a:extLst>
          </p:cNvPr>
          <p:cNvGraphicFramePr>
            <a:graphicFrameLocks noGrp="1"/>
          </p:cNvGraphicFramePr>
          <p:nvPr>
            <p:extLst>
              <p:ext uri="{D42A27DB-BD31-4B8C-83A1-F6EECF244321}">
                <p14:modId xmlns:p14="http://schemas.microsoft.com/office/powerpoint/2010/main" val="2466951737"/>
              </p:ext>
            </p:extLst>
          </p:nvPr>
        </p:nvGraphicFramePr>
        <p:xfrm>
          <a:off x="3730344" y="2265972"/>
          <a:ext cx="4297680" cy="3505200"/>
        </p:xfrm>
        <a:graphic>
          <a:graphicData uri="http://schemas.openxmlformats.org/drawingml/2006/table">
            <a:tbl>
              <a:tblPr firstRow="1" bandRow="1">
                <a:tableStyleId>{2D5ABB26-0587-4C30-8999-92F81FD0307C}</a:tableStyleId>
              </a:tblPr>
              <a:tblGrid>
                <a:gridCol w="1645920">
                  <a:extLst>
                    <a:ext uri="{9D8B030D-6E8A-4147-A177-3AD203B41FA5}">
                      <a16:colId xmlns:a16="http://schemas.microsoft.com/office/drawing/2014/main" val="1449392551"/>
                    </a:ext>
                  </a:extLst>
                </a:gridCol>
                <a:gridCol w="2651760">
                  <a:extLst>
                    <a:ext uri="{9D8B030D-6E8A-4147-A177-3AD203B41FA5}">
                      <a16:colId xmlns:a16="http://schemas.microsoft.com/office/drawing/2014/main" val="3830554313"/>
                    </a:ext>
                  </a:extLst>
                </a:gridCol>
              </a:tblGrid>
              <a:tr h="701040">
                <a:tc>
                  <a:txBody>
                    <a:bodyPr/>
                    <a:lstStyle/>
                    <a:p>
                      <a:r>
                        <a:rPr lang="en-US" sz="1600" b="1" i="0" dirty="0">
                          <a:latin typeface="+mj-lt"/>
                        </a:rPr>
                        <a:t>Dat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600" b="1" i="0" dirty="0">
                          <a:latin typeface="+mj-lt"/>
                        </a:rPr>
                        <a:t>February 9</a:t>
                      </a:r>
                      <a:r>
                        <a:rPr lang="en-US" sz="1600" b="1" i="0" baseline="30000" dirty="0">
                          <a:latin typeface="+mj-lt"/>
                        </a:rPr>
                        <a:t>th</a:t>
                      </a:r>
                      <a:r>
                        <a:rPr lang="en-US" sz="1600" b="1" i="0" dirty="0">
                          <a:latin typeface="+mj-lt"/>
                        </a:rPr>
                        <a:t> to 14</a:t>
                      </a:r>
                      <a:r>
                        <a:rPr lang="en-US" sz="1600" b="1" i="0" baseline="30000" dirty="0">
                          <a:latin typeface="+mj-lt"/>
                        </a:rPr>
                        <a:t>th</a:t>
                      </a:r>
                      <a:r>
                        <a:rPr lang="en-US" sz="1600" b="1" i="0" dirty="0">
                          <a:latin typeface="+mj-lt"/>
                        </a:rPr>
                        <a:t>, 202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738704429"/>
                  </a:ext>
                </a:extLst>
              </a:tr>
              <a:tr h="701040">
                <a:tc>
                  <a:txBody>
                    <a:bodyPr/>
                    <a:lstStyle/>
                    <a:p>
                      <a:r>
                        <a:rPr lang="en-US" sz="1600" b="1" i="0" dirty="0">
                          <a:latin typeface="+mj-lt"/>
                        </a:rPr>
                        <a:t>Survey Length</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600" b="1" i="0" dirty="0">
                          <a:latin typeface="+mj-lt"/>
                        </a:rPr>
                        <a:t>10 minut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665684287"/>
                  </a:ext>
                </a:extLst>
              </a:tr>
              <a:tr h="701040">
                <a:tc>
                  <a:txBody>
                    <a:bodyPr/>
                    <a:lstStyle/>
                    <a:p>
                      <a:r>
                        <a:rPr lang="en-US" sz="1600" b="1" i="0">
                          <a:latin typeface="+mj-lt"/>
                        </a:rPr>
                        <a:t>Metho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600" b="1" i="0" dirty="0">
                          <a:latin typeface="+mj-lt"/>
                        </a:rPr>
                        <a:t>Onlin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46635390"/>
                  </a:ext>
                </a:extLst>
              </a:tr>
              <a:tr h="701040">
                <a:tc>
                  <a:txBody>
                    <a:bodyPr/>
                    <a:lstStyle/>
                    <a:p>
                      <a:r>
                        <a:rPr lang="en-US" sz="1600" b="1" i="0">
                          <a:latin typeface="+mj-lt"/>
                        </a:rPr>
                        <a:t>Audien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algn="l"/>
                      <a:r>
                        <a:rPr lang="en-US" sz="1600" b="1" i="0" dirty="0">
                          <a:latin typeface="+mj-lt"/>
                        </a:rPr>
                        <a:t>1,000 General Public</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212786605"/>
                  </a:ext>
                </a:extLst>
              </a:tr>
              <a:tr h="701040">
                <a:tc gridSpan="2">
                  <a:txBody>
                    <a:bodyPr/>
                    <a:lstStyle/>
                    <a:p>
                      <a:r>
                        <a:rPr lang="en-US" sz="1000" b="0" i="0" dirty="0">
                          <a:latin typeface="Helvetica" pitchFamily="2" charset="0"/>
                        </a:rPr>
                        <a:t>Data is weighted to reflect the U.S. general public across age, gender, race/ethnicity, region, income, household size, and employm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l"/>
                      <a:endParaRPr lang="en-US" sz="1600" b="0" i="0">
                        <a:latin typeface="Helvetica" pitchFamily="2"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157563003"/>
                  </a:ext>
                </a:extLst>
              </a:tr>
            </a:tbl>
          </a:graphicData>
        </a:graphic>
      </p:graphicFrame>
      <p:pic>
        <p:nvPicPr>
          <p:cNvPr id="7" name="Picture 6" descr="White Icons - A-45.png">
            <a:extLst>
              <a:ext uri="{FF2B5EF4-FFF2-40B4-BE49-F238E27FC236}">
                <a16:creationId xmlns:a16="http://schemas.microsoft.com/office/drawing/2014/main" id="{70E8F764-ECE5-4F8F-A7E3-60BDDEB5FDF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981546" y="2249582"/>
            <a:ext cx="914400" cy="914400"/>
          </a:xfrm>
          <a:prstGeom prst="rect">
            <a:avLst/>
          </a:prstGeom>
        </p:spPr>
      </p:pic>
      <p:pic>
        <p:nvPicPr>
          <p:cNvPr id="8" name="Picture 7" descr="White Icons - C-09.png">
            <a:extLst>
              <a:ext uri="{FF2B5EF4-FFF2-40B4-BE49-F238E27FC236}">
                <a16:creationId xmlns:a16="http://schemas.microsoft.com/office/drawing/2014/main" id="{F3678745-49E4-4E74-83AA-CFCBC0F5F500}"/>
              </a:ext>
            </a:extLst>
          </p:cNvPr>
          <p:cNvPicPr>
            <a:picLocks noChangeAspect="1"/>
          </p:cNvPicPr>
          <p:nvPr/>
        </p:nvPicPr>
        <p:blipFill>
          <a:blip r:embed="rId5">
            <a:duotone>
              <a:prstClr val="black"/>
              <a:schemeClr val="tx2">
                <a:tint val="45000"/>
                <a:satMod val="400000"/>
              </a:schemeClr>
            </a:duotone>
            <a:extLst>
              <a:ext uri="{BEBA8EAE-BF5A-486C-A8C5-ECC9F3942E4B}">
                <a14:imgProps xmlns:a14="http://schemas.microsoft.com/office/drawing/2010/main">
                  <a14:imgLayer r:embed="rId6">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1981546" y="2957699"/>
            <a:ext cx="914400" cy="914400"/>
          </a:xfrm>
          <a:prstGeom prst="rect">
            <a:avLst/>
          </a:prstGeom>
          <a:noFill/>
        </p:spPr>
      </p:pic>
      <p:pic>
        <p:nvPicPr>
          <p:cNvPr id="9" name="Picture 8" descr="White Icons - C-37.png">
            <a:extLst>
              <a:ext uri="{FF2B5EF4-FFF2-40B4-BE49-F238E27FC236}">
                <a16:creationId xmlns:a16="http://schemas.microsoft.com/office/drawing/2014/main" id="{8ED96F9A-A0D4-4B34-8DED-CD5969B5F571}"/>
              </a:ext>
            </a:extLst>
          </p:cNvPr>
          <p:cNvPicPr>
            <a:picLocks noChangeAspect="1"/>
          </p:cNvPicPr>
          <p:nvPr/>
        </p:nvPicPr>
        <p:blipFill>
          <a:blip r:embed="rId7">
            <a:duotone>
              <a:prstClr val="black"/>
              <a:schemeClr val="tx2">
                <a:tint val="45000"/>
                <a:satMod val="400000"/>
              </a:schemeClr>
            </a:duotone>
            <a:extLst>
              <a:ext uri="{BEBA8EAE-BF5A-486C-A8C5-ECC9F3942E4B}">
                <a14:imgProps xmlns:a14="http://schemas.microsoft.com/office/drawing/2010/main">
                  <a14:imgLayer r:embed="rId8">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1981546" y="3603611"/>
            <a:ext cx="914400" cy="914400"/>
          </a:xfrm>
          <a:prstGeom prst="rect">
            <a:avLst/>
          </a:prstGeom>
          <a:noFill/>
        </p:spPr>
      </p:pic>
      <p:pic>
        <p:nvPicPr>
          <p:cNvPr id="11" name="Picture 10" descr="White Icons - B-17.png">
            <a:extLst>
              <a:ext uri="{FF2B5EF4-FFF2-40B4-BE49-F238E27FC236}">
                <a16:creationId xmlns:a16="http://schemas.microsoft.com/office/drawing/2014/main" id="{C9373C49-868A-4DF9-BF10-1E855B58197B}"/>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981546" y="4249523"/>
            <a:ext cx="914400" cy="914400"/>
          </a:xfrm>
          <a:prstGeom prst="rect">
            <a:avLst/>
          </a:prstGeom>
        </p:spPr>
      </p:pic>
      <p:sp>
        <p:nvSpPr>
          <p:cNvPr id="12" name="Text Placeholder 5">
            <a:extLst>
              <a:ext uri="{FF2B5EF4-FFF2-40B4-BE49-F238E27FC236}">
                <a16:creationId xmlns:a16="http://schemas.microsoft.com/office/drawing/2014/main" id="{58690D2C-1BBB-F246-BC52-80C976A36A7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10" name="TextBox 9">
            <a:extLst>
              <a:ext uri="{FF2B5EF4-FFF2-40B4-BE49-F238E27FC236}">
                <a16:creationId xmlns:a16="http://schemas.microsoft.com/office/drawing/2014/main" id="{5547812E-C949-4845-825C-7BF76D6BFFA0}"/>
              </a:ext>
            </a:extLst>
          </p:cNvPr>
          <p:cNvSpPr txBox="1"/>
          <p:nvPr/>
        </p:nvSpPr>
        <p:spPr>
          <a:xfrm>
            <a:off x="2743201" y="6544335"/>
            <a:ext cx="9592574" cy="2308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Franklin Gothic Book" panose="020B0503020102020204" pitchFamily="34" charset="0"/>
                <a:cs typeface="Calibri" panose="020F0502020204030204" pitchFamily="34" charset="0"/>
              </a:rPr>
              <a:t>“OOH Consumer Insights and Intent Q1 2022” was sponsored by The Foundation for Outdoor Advertising Research and Education (FOARE), a 501 (c) (3) not for profit, charitable organization</a:t>
            </a:r>
            <a:endParaRPr lang="en-US" sz="900" dirty="0">
              <a:latin typeface="Franklin Gothic Book" panose="020B0503020102020204" pitchFamily="34" charset="0"/>
            </a:endParaRPr>
          </a:p>
        </p:txBody>
      </p:sp>
    </p:spTree>
    <p:extLst>
      <p:ext uri="{BB962C8B-B14F-4D97-AF65-F5344CB8AC3E}">
        <p14:creationId xmlns:p14="http://schemas.microsoft.com/office/powerpoint/2010/main" val="11941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9351C8-8FFB-4DEB-9A08-F6C661002929}"/>
              </a:ext>
            </a:extLst>
          </p:cNvPr>
          <p:cNvPicPr>
            <a:picLocks noChangeAspect="1"/>
          </p:cNvPicPr>
          <p:nvPr/>
        </p:nvPicPr>
        <p:blipFill>
          <a:blip r:embed="rId2"/>
          <a:stretch>
            <a:fillRect/>
          </a:stretch>
        </p:blipFill>
        <p:spPr>
          <a:xfrm>
            <a:off x="6979324" y="4662617"/>
            <a:ext cx="4444369" cy="1432684"/>
          </a:xfrm>
          <a:prstGeom prst="rect">
            <a:avLst/>
          </a:prstGeom>
        </p:spPr>
      </p:pic>
      <p:sp>
        <p:nvSpPr>
          <p:cNvPr id="4" name="TextBox 3">
            <a:extLst>
              <a:ext uri="{FF2B5EF4-FFF2-40B4-BE49-F238E27FC236}">
                <a16:creationId xmlns:a16="http://schemas.microsoft.com/office/drawing/2014/main" id="{D01CD8AE-FD1B-4C50-B675-289402BBC1E8}"/>
              </a:ext>
            </a:extLst>
          </p:cNvPr>
          <p:cNvSpPr txBox="1"/>
          <p:nvPr/>
        </p:nvSpPr>
        <p:spPr>
          <a:xfrm>
            <a:off x="5362113" y="6310744"/>
            <a:ext cx="6576132" cy="430887"/>
          </a:xfrm>
          <a:prstGeom prst="rect">
            <a:avLst/>
          </a:prstGeom>
          <a:noFill/>
        </p:spPr>
        <p:txBody>
          <a:bodyPr wrap="square">
            <a:spAutoFit/>
          </a:bodyPr>
          <a:lstStyle/>
          <a:p>
            <a:pPr algn="r"/>
            <a:r>
              <a:rPr lang="en-US" sz="11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OOH Consumer Insights and Intent Q1 2022” was sponsored by The Foundation for Outdoor Advertising Research and Education (FOARE), a 501 (c) (3) not for profit, charitable organization. </a:t>
            </a:r>
            <a:endParaRPr lang="en-US" sz="1100" dirty="0">
              <a:solidFill>
                <a:schemeClr val="bg1"/>
              </a:solidFill>
              <a:latin typeface="Franklin Gothic Book" panose="020B0503020102020204" pitchFamily="34" charset="0"/>
            </a:endParaRPr>
          </a:p>
        </p:txBody>
      </p:sp>
    </p:spTree>
    <p:extLst>
      <p:ext uri="{BB962C8B-B14F-4D97-AF65-F5344CB8AC3E}">
        <p14:creationId xmlns:p14="http://schemas.microsoft.com/office/powerpoint/2010/main" val="31108840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3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5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2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4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6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27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29b85ed-18c3-4aa1-9352-a89c372114b7">
      <UserInfo>
        <DisplayName>Tawny Saez</DisplayName>
        <AccountId>23</AccountId>
        <AccountType/>
      </UserInfo>
      <UserInfo>
        <DisplayName>Andrew Higham</DisplayName>
        <AccountId>4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BD0B955D17822488E3D6493B9383791" ma:contentTypeVersion="13" ma:contentTypeDescription="Create a new document." ma:contentTypeScope="" ma:versionID="a4e65156f097c1fe95266848af6cedea">
  <xsd:schema xmlns:xsd="http://www.w3.org/2001/XMLSchema" xmlns:xs="http://www.w3.org/2001/XMLSchema" xmlns:p="http://schemas.microsoft.com/office/2006/metadata/properties" xmlns:ns2="08496985-b4e7-44f6-a0fb-cf9483876b39" xmlns:ns3="e29b85ed-18c3-4aa1-9352-a89c372114b7" targetNamespace="http://schemas.microsoft.com/office/2006/metadata/properties" ma:root="true" ma:fieldsID="fa7c4ec9ea943b23f3789b5438e0482d" ns2:_="" ns3:_="">
    <xsd:import namespace="08496985-b4e7-44f6-a0fb-cf9483876b39"/>
    <xsd:import namespace="e29b85ed-18c3-4aa1-9352-a89c372114b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496985-b4e7-44f6-a0fb-cf9483876b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29b85ed-18c3-4aa1-9352-a89c372114b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35DEC8-598B-44E0-B52B-F483362B0337}">
  <ds:schemaRefs>
    <ds:schemaRef ds:uri="http://schemas.microsoft.com/sharepoint/v3/contenttype/forms"/>
  </ds:schemaRefs>
</ds:datastoreItem>
</file>

<file path=customXml/itemProps2.xml><?xml version="1.0" encoding="utf-8"?>
<ds:datastoreItem xmlns:ds="http://schemas.openxmlformats.org/officeDocument/2006/customXml" ds:itemID="{A3FBA1AC-D44D-469D-AC28-93DA62E33DE4}">
  <ds:schemaRefs>
    <ds:schemaRef ds:uri="http://schemas.microsoft.com/office/2006/documentManagement/types"/>
    <ds:schemaRef ds:uri="http://schemas.microsoft.com/office/2006/metadata/properties"/>
    <ds:schemaRef ds:uri="http://purl.org/dc/elements/1.1/"/>
    <ds:schemaRef ds:uri="http://www.w3.org/XML/1998/namespace"/>
    <ds:schemaRef ds:uri="http://purl.org/dc/dcmitype/"/>
    <ds:schemaRef ds:uri="5f2a0e91-33b1-4c8e-90f7-306db27ce992"/>
    <ds:schemaRef ds:uri="http://schemas.microsoft.com/office/infopath/2007/PartnerControls"/>
    <ds:schemaRef ds:uri="http://purl.org/dc/terms/"/>
    <ds:schemaRef ds:uri="c94d9d0f-1ff1-496f-93e5-b32e9300b69d"/>
    <ds:schemaRef ds:uri="http://schemas.openxmlformats.org/package/2006/metadata/core-properties"/>
    <ds:schemaRef ds:uri="http://schemas.microsoft.com/sharepoint/v3"/>
    <ds:schemaRef ds:uri="e29b85ed-18c3-4aa1-9352-a89c372114b7"/>
  </ds:schemaRefs>
</ds:datastoreItem>
</file>

<file path=customXml/itemProps3.xml><?xml version="1.0" encoding="utf-8"?>
<ds:datastoreItem xmlns:ds="http://schemas.openxmlformats.org/officeDocument/2006/customXml" ds:itemID="{6C598CEA-8C06-4303-8985-280392F2CE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496985-b4e7-44f6-a0fb-cf9483876b39"/>
    <ds:schemaRef ds:uri="e29b85ed-18c3-4aa1-9352-a89c372114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2615</TotalTime>
  <Words>865</Words>
  <Application>Microsoft Office PowerPoint</Application>
  <PresentationFormat>Widescreen</PresentationFormat>
  <Paragraphs>42</Paragraphs>
  <Slides>5</Slides>
  <Notes>3</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5</vt:i4>
      </vt:variant>
    </vt:vector>
  </HeadingPairs>
  <TitlesOfParts>
    <vt:vector size="20" baseType="lpstr">
      <vt:lpstr>Arial</vt:lpstr>
      <vt:lpstr>Calibri</vt:lpstr>
      <vt:lpstr>Franklin Gothic Book</vt:lpstr>
      <vt:lpstr>Helvetica</vt:lpstr>
      <vt:lpstr>Helvetica Light</vt:lpstr>
      <vt:lpstr>1_Full Page Header</vt:lpstr>
      <vt:lpstr>21_Full Page Header</vt:lpstr>
      <vt:lpstr>11_Full Page Header</vt:lpstr>
      <vt:lpstr>13_Full Page Header</vt:lpstr>
      <vt:lpstr>15_Full Page Header</vt:lpstr>
      <vt:lpstr>22_Full Page Header</vt:lpstr>
      <vt:lpstr>24_Full Page Header</vt:lpstr>
      <vt:lpstr>26_Full Page Header</vt:lpstr>
      <vt:lpstr>27_Full Page Header</vt:lpstr>
      <vt:lpstr>think-cell Slide</vt:lpstr>
      <vt:lpstr>OOH Consumer Insights &amp; Intent Q1 2022 Opportunities: Local and Summer Travel, Seasonal Shopping, and the Automotive Category  Executive Summary</vt:lpstr>
      <vt:lpstr>Key Takeaways </vt:lpstr>
      <vt:lpstr>Key Takeaways </vt:lpstr>
      <vt:lpstr>Methodolog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2020 RQ® Study</dc:title>
  <dc:creator>Andrew Higham</dc:creator>
  <cp:lastModifiedBy>Steve Nicklin</cp:lastModifiedBy>
  <cp:revision>35</cp:revision>
  <cp:lastPrinted>2022-02-23T17:35:11Z</cp:lastPrinted>
  <dcterms:created xsi:type="dcterms:W3CDTF">2020-03-05T16:59:16Z</dcterms:created>
  <dcterms:modified xsi:type="dcterms:W3CDTF">2022-03-07T23:0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D0B955D17822488E3D6493B9383791</vt:lpwstr>
  </property>
</Properties>
</file>